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</p:sldMasterIdLst>
  <p:notesMasterIdLst>
    <p:notesMasterId r:id="rId25"/>
  </p:notesMasterIdLst>
  <p:sldIdLst>
    <p:sldId id="2425" r:id="rId6"/>
    <p:sldId id="2459" r:id="rId7"/>
    <p:sldId id="2602" r:id="rId8"/>
    <p:sldId id="2592" r:id="rId9"/>
    <p:sldId id="2603" r:id="rId10"/>
    <p:sldId id="2469" r:id="rId11"/>
    <p:sldId id="2141412277" r:id="rId12"/>
    <p:sldId id="2604" r:id="rId13"/>
    <p:sldId id="2617" r:id="rId14"/>
    <p:sldId id="2605" r:id="rId15"/>
    <p:sldId id="1023" r:id="rId16"/>
    <p:sldId id="2433" r:id="rId17"/>
    <p:sldId id="2612" r:id="rId18"/>
    <p:sldId id="2618" r:id="rId19"/>
    <p:sldId id="2609" r:id="rId20"/>
    <p:sldId id="2610" r:id="rId21"/>
    <p:sldId id="2611" r:id="rId22"/>
    <p:sldId id="2614" r:id="rId23"/>
    <p:sldId id="2615" r:id="rId24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09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FF1"/>
    <a:srgbClr val="F7F7F8"/>
    <a:srgbClr val="1C1C1C"/>
    <a:srgbClr val="FFFFFF"/>
    <a:srgbClr val="D3D3D7"/>
    <a:srgbClr val="DADADE"/>
    <a:srgbClr val="5383AE"/>
    <a:srgbClr val="FF0000"/>
    <a:srgbClr val="FFF9F9"/>
    <a:srgbClr val="2929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2D0098-2C15-4CF6-8422-F01575B493EE}" v="1" dt="2021-12-16T17:15:40.1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75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402" y="102"/>
      </p:cViewPr>
      <p:guideLst>
        <p:guide pos="3840"/>
        <p:guide orient="horz" pos="20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 Filipa Magalhães Marques (CAA)" userId="fe4f4769-0f12-4751-ba92-aba103a00a71" providerId="ADAL" clId="{7E2D0098-2C15-4CF6-8422-F01575B493EE}"/>
    <pc:docChg chg="undo custSel addSld delSld modSld">
      <pc:chgData name="Ana Filipa Magalhães Marques (CAA)" userId="fe4f4769-0f12-4751-ba92-aba103a00a71" providerId="ADAL" clId="{7E2D0098-2C15-4CF6-8422-F01575B493EE}" dt="2021-12-16T17:17:50.746" v="14" actId="14100"/>
      <pc:docMkLst>
        <pc:docMk/>
      </pc:docMkLst>
      <pc:sldChg chg="del">
        <pc:chgData name="Ana Filipa Magalhães Marques (CAA)" userId="fe4f4769-0f12-4751-ba92-aba103a00a71" providerId="ADAL" clId="{7E2D0098-2C15-4CF6-8422-F01575B493EE}" dt="2021-12-16T17:15:36.702" v="8" actId="47"/>
        <pc:sldMkLst>
          <pc:docMk/>
          <pc:sldMk cId="4069730044" sldId="2595"/>
        </pc:sldMkLst>
      </pc:sldChg>
      <pc:sldChg chg="modSp mod">
        <pc:chgData name="Ana Filipa Magalhães Marques (CAA)" userId="fe4f4769-0f12-4751-ba92-aba103a00a71" providerId="ADAL" clId="{7E2D0098-2C15-4CF6-8422-F01575B493EE}" dt="2021-12-16T17:17:45.727" v="13" actId="14100"/>
        <pc:sldMkLst>
          <pc:docMk/>
          <pc:sldMk cId="438596112" sldId="2609"/>
        </pc:sldMkLst>
        <pc:picChg chg="mod">
          <ac:chgData name="Ana Filipa Magalhães Marques (CAA)" userId="fe4f4769-0f12-4751-ba92-aba103a00a71" providerId="ADAL" clId="{7E2D0098-2C15-4CF6-8422-F01575B493EE}" dt="2021-12-16T17:17:45.727" v="13" actId="14100"/>
          <ac:picMkLst>
            <pc:docMk/>
            <pc:sldMk cId="438596112" sldId="2609"/>
            <ac:picMk id="7" creationId="{65EBAC71-DE0B-448F-81E8-D1BEBEB06252}"/>
          </ac:picMkLst>
        </pc:picChg>
      </pc:sldChg>
      <pc:sldChg chg="delSp modSp mod delAnim">
        <pc:chgData name="Ana Filipa Magalhães Marques (CAA)" userId="fe4f4769-0f12-4751-ba92-aba103a00a71" providerId="ADAL" clId="{7E2D0098-2C15-4CF6-8422-F01575B493EE}" dt="2021-12-16T16:26:38.501" v="7" actId="1076"/>
        <pc:sldMkLst>
          <pc:docMk/>
          <pc:sldMk cId="705869292" sldId="2610"/>
        </pc:sldMkLst>
        <pc:spChg chg="mod">
          <ac:chgData name="Ana Filipa Magalhães Marques (CAA)" userId="fe4f4769-0f12-4751-ba92-aba103a00a71" providerId="ADAL" clId="{7E2D0098-2C15-4CF6-8422-F01575B493EE}" dt="2021-12-16T16:26:35.079" v="6" actId="1076"/>
          <ac:spMkLst>
            <pc:docMk/>
            <pc:sldMk cId="705869292" sldId="2610"/>
            <ac:spMk id="5" creationId="{71B7848B-0DC3-41AC-A854-BB57298C79FD}"/>
          </ac:spMkLst>
        </pc:spChg>
        <pc:spChg chg="del">
          <ac:chgData name="Ana Filipa Magalhães Marques (CAA)" userId="fe4f4769-0f12-4751-ba92-aba103a00a71" providerId="ADAL" clId="{7E2D0098-2C15-4CF6-8422-F01575B493EE}" dt="2021-12-16T16:26:22.346" v="1" actId="478"/>
          <ac:spMkLst>
            <pc:docMk/>
            <pc:sldMk cId="705869292" sldId="2610"/>
            <ac:spMk id="6" creationId="{618E0B37-4C4C-43AD-875B-A9303EAFCC47}"/>
          </ac:spMkLst>
        </pc:spChg>
        <pc:spChg chg="del">
          <ac:chgData name="Ana Filipa Magalhães Marques (CAA)" userId="fe4f4769-0f12-4751-ba92-aba103a00a71" providerId="ADAL" clId="{7E2D0098-2C15-4CF6-8422-F01575B493EE}" dt="2021-12-16T16:26:24.394" v="2" actId="478"/>
          <ac:spMkLst>
            <pc:docMk/>
            <pc:sldMk cId="705869292" sldId="2610"/>
            <ac:spMk id="7" creationId="{B00BE179-7C64-46B0-A141-DEA99212F684}"/>
          </ac:spMkLst>
        </pc:spChg>
        <pc:spChg chg="mod">
          <ac:chgData name="Ana Filipa Magalhães Marques (CAA)" userId="fe4f4769-0f12-4751-ba92-aba103a00a71" providerId="ADAL" clId="{7E2D0098-2C15-4CF6-8422-F01575B493EE}" dt="2021-12-16T16:26:35.079" v="6" actId="1076"/>
          <ac:spMkLst>
            <pc:docMk/>
            <pc:sldMk cId="705869292" sldId="2610"/>
            <ac:spMk id="9" creationId="{24D1126E-23F1-48B1-9EED-A3FBF200D931}"/>
          </ac:spMkLst>
        </pc:spChg>
        <pc:spChg chg="mod">
          <ac:chgData name="Ana Filipa Magalhães Marques (CAA)" userId="fe4f4769-0f12-4751-ba92-aba103a00a71" providerId="ADAL" clId="{7E2D0098-2C15-4CF6-8422-F01575B493EE}" dt="2021-12-16T16:26:35.079" v="6" actId="1076"/>
          <ac:spMkLst>
            <pc:docMk/>
            <pc:sldMk cId="705869292" sldId="2610"/>
            <ac:spMk id="10" creationId="{8077C221-AD21-400C-95F8-8EE867710F9B}"/>
          </ac:spMkLst>
        </pc:spChg>
        <pc:spChg chg="mod">
          <ac:chgData name="Ana Filipa Magalhães Marques (CAA)" userId="fe4f4769-0f12-4751-ba92-aba103a00a71" providerId="ADAL" clId="{7E2D0098-2C15-4CF6-8422-F01575B493EE}" dt="2021-12-16T16:26:35.079" v="6" actId="1076"/>
          <ac:spMkLst>
            <pc:docMk/>
            <pc:sldMk cId="705869292" sldId="2610"/>
            <ac:spMk id="11" creationId="{05F9E2C2-5DB6-4796-BC15-6600B920A6DA}"/>
          </ac:spMkLst>
        </pc:spChg>
        <pc:spChg chg="mod">
          <ac:chgData name="Ana Filipa Magalhães Marques (CAA)" userId="fe4f4769-0f12-4751-ba92-aba103a00a71" providerId="ADAL" clId="{7E2D0098-2C15-4CF6-8422-F01575B493EE}" dt="2021-12-16T16:26:35.079" v="6" actId="1076"/>
          <ac:spMkLst>
            <pc:docMk/>
            <pc:sldMk cId="705869292" sldId="2610"/>
            <ac:spMk id="12" creationId="{F7235F39-E867-4D25-A3B6-AC981FDC1DEE}"/>
          </ac:spMkLst>
        </pc:spChg>
        <pc:spChg chg="mod">
          <ac:chgData name="Ana Filipa Magalhães Marques (CAA)" userId="fe4f4769-0f12-4751-ba92-aba103a00a71" providerId="ADAL" clId="{7E2D0098-2C15-4CF6-8422-F01575B493EE}" dt="2021-12-16T16:26:35.079" v="6" actId="1076"/>
          <ac:spMkLst>
            <pc:docMk/>
            <pc:sldMk cId="705869292" sldId="2610"/>
            <ac:spMk id="13" creationId="{F13083B4-5B9B-443F-AEB6-122511B5F1EA}"/>
          </ac:spMkLst>
        </pc:spChg>
        <pc:spChg chg="mod">
          <ac:chgData name="Ana Filipa Magalhães Marques (CAA)" userId="fe4f4769-0f12-4751-ba92-aba103a00a71" providerId="ADAL" clId="{7E2D0098-2C15-4CF6-8422-F01575B493EE}" dt="2021-12-16T16:26:35.079" v="6" actId="1076"/>
          <ac:spMkLst>
            <pc:docMk/>
            <pc:sldMk cId="705869292" sldId="2610"/>
            <ac:spMk id="14" creationId="{FBFB346B-2D40-4D31-80FD-44A86ECED424}"/>
          </ac:spMkLst>
        </pc:spChg>
        <pc:picChg chg="mod">
          <ac:chgData name="Ana Filipa Magalhães Marques (CAA)" userId="fe4f4769-0f12-4751-ba92-aba103a00a71" providerId="ADAL" clId="{7E2D0098-2C15-4CF6-8422-F01575B493EE}" dt="2021-12-16T16:26:38.501" v="7" actId="1076"/>
          <ac:picMkLst>
            <pc:docMk/>
            <pc:sldMk cId="705869292" sldId="2610"/>
            <ac:picMk id="8" creationId="{F2D5A384-2C7A-4B37-B9FE-33C7019A9DAE}"/>
          </ac:picMkLst>
        </pc:picChg>
      </pc:sldChg>
      <pc:sldChg chg="modSp mod">
        <pc:chgData name="Ana Filipa Magalhães Marques (CAA)" userId="fe4f4769-0f12-4751-ba92-aba103a00a71" providerId="ADAL" clId="{7E2D0098-2C15-4CF6-8422-F01575B493EE}" dt="2021-12-16T17:17:50.746" v="14" actId="14100"/>
        <pc:sldMkLst>
          <pc:docMk/>
          <pc:sldMk cId="1182377512" sldId="2618"/>
        </pc:sldMkLst>
        <pc:picChg chg="mod">
          <ac:chgData name="Ana Filipa Magalhães Marques (CAA)" userId="fe4f4769-0f12-4751-ba92-aba103a00a71" providerId="ADAL" clId="{7E2D0098-2C15-4CF6-8422-F01575B493EE}" dt="2021-12-16T17:17:50.746" v="14" actId="14100"/>
          <ac:picMkLst>
            <pc:docMk/>
            <pc:sldMk cId="1182377512" sldId="2618"/>
            <ac:picMk id="5" creationId="{9466CB13-10B4-4482-B848-F0BF8B38448C}"/>
          </ac:picMkLst>
        </pc:picChg>
      </pc:sldChg>
      <pc:sldChg chg="add modTransition">
        <pc:chgData name="Ana Filipa Magalhães Marques (CAA)" userId="fe4f4769-0f12-4751-ba92-aba103a00a71" providerId="ADAL" clId="{7E2D0098-2C15-4CF6-8422-F01575B493EE}" dt="2021-12-16T17:15:40.192" v="9"/>
        <pc:sldMkLst>
          <pc:docMk/>
          <pc:sldMk cId="510698749" sldId="214141227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18416B-C29F-4695-84BA-D03E80FAEAF7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0FB828-CB07-48A3-858B-637CA3DAEDA8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27019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42901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333221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1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779082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1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09135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4175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75590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7E326-9EA1-4045-93F0-2B5272C80460}" type="slidenum">
              <a:rPr lang="pt-PT" smtClean="0"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22357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 Speaker: DI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7E326-9EA1-4045-93F0-2B5272C80460}" type="slidenum">
              <a:rPr lang="pt-PT" smtClean="0"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719732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 Speaker: DI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7E326-9EA1-4045-93F0-2B5272C80460}" type="slidenum">
              <a:rPr lang="pt-PT" smtClean="0"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92046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1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93497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1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049588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B828-CB07-48A3-858B-637CA3DAEDA8}" type="slidenum">
              <a:rPr lang="pt-PT" smtClean="0"/>
              <a:t>1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15529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8380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568843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029807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74C9ADC-C50C-4EB3-986C-5D97EE509EA7}"/>
              </a:ext>
            </a:extLst>
          </p:cNvPr>
          <p:cNvSpPr/>
          <p:nvPr userDrawn="1"/>
        </p:nvSpPr>
        <p:spPr>
          <a:xfrm>
            <a:off x="10103835" y="6451600"/>
            <a:ext cx="353171" cy="406400"/>
          </a:xfrm>
          <a:prstGeom prst="rect">
            <a:avLst/>
          </a:prstGeom>
          <a:solidFill>
            <a:srgbClr val="EB23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800">
              <a:solidFill>
                <a:srgbClr val="DE9E00"/>
              </a:solidFill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108A9580-4BD4-4F4D-B1FC-8DF2C93D6E6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675644" y="6530214"/>
            <a:ext cx="1346970" cy="153959"/>
          </a:xfrm>
          <a:custGeom>
            <a:avLst/>
            <a:gdLst>
              <a:gd name="T0" fmla="*/ 729 w 1227"/>
              <a:gd name="T1" fmla="*/ 138 h 138"/>
              <a:gd name="T2" fmla="*/ 707 w 1227"/>
              <a:gd name="T3" fmla="*/ 100 h 138"/>
              <a:gd name="T4" fmla="*/ 772 w 1227"/>
              <a:gd name="T5" fmla="*/ 94 h 138"/>
              <a:gd name="T6" fmla="*/ 750 w 1227"/>
              <a:gd name="T7" fmla="*/ 48 h 138"/>
              <a:gd name="T8" fmla="*/ 722 w 1227"/>
              <a:gd name="T9" fmla="*/ 24 h 138"/>
              <a:gd name="T10" fmla="*/ 677 w 1227"/>
              <a:gd name="T11" fmla="*/ 30 h 138"/>
              <a:gd name="T12" fmla="*/ 731 w 1227"/>
              <a:gd name="T13" fmla="*/ 0 h 138"/>
              <a:gd name="T14" fmla="*/ 1105 w 1227"/>
              <a:gd name="T15" fmla="*/ 69 h 138"/>
              <a:gd name="T16" fmla="*/ 984 w 1227"/>
              <a:gd name="T17" fmla="*/ 138 h 138"/>
              <a:gd name="T18" fmla="*/ 1036 w 1227"/>
              <a:gd name="T19" fmla="*/ 0 h 138"/>
              <a:gd name="T20" fmla="*/ 1075 w 1227"/>
              <a:gd name="T21" fmla="*/ 69 h 138"/>
              <a:gd name="T22" fmla="*/ 1015 w 1227"/>
              <a:gd name="T23" fmla="*/ 30 h 138"/>
              <a:gd name="T24" fmla="*/ 1036 w 1227"/>
              <a:gd name="T25" fmla="*/ 107 h 138"/>
              <a:gd name="T26" fmla="*/ 317 w 1227"/>
              <a:gd name="T27" fmla="*/ 69 h 138"/>
              <a:gd name="T28" fmla="*/ 196 w 1227"/>
              <a:gd name="T29" fmla="*/ 138 h 138"/>
              <a:gd name="T30" fmla="*/ 248 w 1227"/>
              <a:gd name="T31" fmla="*/ 0 h 138"/>
              <a:gd name="T32" fmla="*/ 287 w 1227"/>
              <a:gd name="T33" fmla="*/ 69 h 138"/>
              <a:gd name="T34" fmla="*/ 226 w 1227"/>
              <a:gd name="T35" fmla="*/ 30 h 138"/>
              <a:gd name="T36" fmla="*/ 248 w 1227"/>
              <a:gd name="T37" fmla="*/ 107 h 138"/>
              <a:gd name="T38" fmla="*/ 0 w 1227"/>
              <a:gd name="T39" fmla="*/ 138 h 138"/>
              <a:gd name="T40" fmla="*/ 31 w 1227"/>
              <a:gd name="T41" fmla="*/ 84 h 138"/>
              <a:gd name="T42" fmla="*/ 82 w 1227"/>
              <a:gd name="T43" fmla="*/ 54 h 138"/>
              <a:gd name="T44" fmla="*/ 31 w 1227"/>
              <a:gd name="T45" fmla="*/ 30 h 138"/>
              <a:gd name="T46" fmla="*/ 87 w 1227"/>
              <a:gd name="T47" fmla="*/ 0 h 138"/>
              <a:gd name="T48" fmla="*/ 0 w 1227"/>
              <a:gd name="T49" fmla="*/ 138 h 138"/>
              <a:gd name="T50" fmla="*/ 439 w 1227"/>
              <a:gd name="T51" fmla="*/ 0 h 138"/>
              <a:gd name="T52" fmla="*/ 352 w 1227"/>
              <a:gd name="T53" fmla="*/ 138 h 138"/>
              <a:gd name="T54" fmla="*/ 439 w 1227"/>
              <a:gd name="T55" fmla="*/ 108 h 138"/>
              <a:gd name="T56" fmla="*/ 382 w 1227"/>
              <a:gd name="T57" fmla="*/ 84 h 138"/>
              <a:gd name="T58" fmla="*/ 433 w 1227"/>
              <a:gd name="T59" fmla="*/ 54 h 138"/>
              <a:gd name="T60" fmla="*/ 382 w 1227"/>
              <a:gd name="T61" fmla="*/ 30 h 138"/>
              <a:gd name="T62" fmla="*/ 605 w 1227"/>
              <a:gd name="T63" fmla="*/ 138 h 138"/>
              <a:gd name="T64" fmla="*/ 635 w 1227"/>
              <a:gd name="T65" fmla="*/ 0 h 138"/>
              <a:gd name="T66" fmla="*/ 605 w 1227"/>
              <a:gd name="T67" fmla="*/ 138 h 138"/>
              <a:gd name="T68" fmla="*/ 478 w 1227"/>
              <a:gd name="T69" fmla="*/ 0 h 138"/>
              <a:gd name="T70" fmla="*/ 478 w 1227"/>
              <a:gd name="T71" fmla="*/ 138 h 138"/>
              <a:gd name="T72" fmla="*/ 566 w 1227"/>
              <a:gd name="T73" fmla="*/ 108 h 138"/>
              <a:gd name="T74" fmla="*/ 509 w 1227"/>
              <a:gd name="T75" fmla="*/ 0 h 138"/>
              <a:gd name="T76" fmla="*/ 157 w 1227"/>
              <a:gd name="T77" fmla="*/ 138 h 138"/>
              <a:gd name="T78" fmla="*/ 127 w 1227"/>
              <a:gd name="T79" fmla="*/ 0 h 138"/>
              <a:gd name="T80" fmla="*/ 1227 w 1227"/>
              <a:gd name="T81" fmla="*/ 30 h 138"/>
              <a:gd name="T82" fmla="*/ 1140 w 1227"/>
              <a:gd name="T83" fmla="*/ 0 h 138"/>
              <a:gd name="T84" fmla="*/ 1227 w 1227"/>
              <a:gd name="T85" fmla="*/ 138 h 138"/>
              <a:gd name="T86" fmla="*/ 1170 w 1227"/>
              <a:gd name="T87" fmla="*/ 108 h 138"/>
              <a:gd name="T88" fmla="*/ 1221 w 1227"/>
              <a:gd name="T89" fmla="*/ 84 h 138"/>
              <a:gd name="T90" fmla="*/ 1170 w 1227"/>
              <a:gd name="T91" fmla="*/ 54 h 138"/>
              <a:gd name="T92" fmla="*/ 1227 w 1227"/>
              <a:gd name="T93" fmla="*/ 30 h 138"/>
              <a:gd name="T94" fmla="*/ 923 w 1227"/>
              <a:gd name="T95" fmla="*/ 138 h 138"/>
              <a:gd name="T96" fmla="*/ 854 w 1227"/>
              <a:gd name="T97" fmla="*/ 111 h 138"/>
              <a:gd name="T98" fmla="*/ 813 w 1227"/>
              <a:gd name="T99" fmla="*/ 138 h 138"/>
              <a:gd name="T100" fmla="*/ 868 w 1227"/>
              <a:gd name="T101" fmla="*/ 0 h 138"/>
              <a:gd name="T102" fmla="*/ 898 w 1227"/>
              <a:gd name="T103" fmla="*/ 0 h 138"/>
              <a:gd name="T104" fmla="*/ 866 w 1227"/>
              <a:gd name="T105" fmla="*/ 81 h 138"/>
              <a:gd name="T106" fmla="*/ 883 w 1227"/>
              <a:gd name="T107" fmla="*/ 3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27" h="138">
                <a:moveTo>
                  <a:pt x="798" y="69"/>
                </a:moveTo>
                <a:cubicBezTo>
                  <a:pt x="798" y="107"/>
                  <a:pt x="767" y="138"/>
                  <a:pt x="729" y="138"/>
                </a:cubicBezTo>
                <a:cubicBezTo>
                  <a:pt x="677" y="138"/>
                  <a:pt x="677" y="138"/>
                  <a:pt x="677" y="138"/>
                </a:cubicBezTo>
                <a:cubicBezTo>
                  <a:pt x="707" y="100"/>
                  <a:pt x="707" y="100"/>
                  <a:pt x="707" y="100"/>
                </a:cubicBezTo>
                <a:cubicBezTo>
                  <a:pt x="758" y="100"/>
                  <a:pt x="758" y="100"/>
                  <a:pt x="758" y="100"/>
                </a:cubicBezTo>
                <a:cubicBezTo>
                  <a:pt x="772" y="94"/>
                  <a:pt x="772" y="94"/>
                  <a:pt x="772" y="94"/>
                </a:cubicBezTo>
                <a:cubicBezTo>
                  <a:pt x="785" y="69"/>
                  <a:pt x="785" y="69"/>
                  <a:pt x="785" y="69"/>
                </a:cubicBezTo>
                <a:cubicBezTo>
                  <a:pt x="750" y="48"/>
                  <a:pt x="750" y="48"/>
                  <a:pt x="750" y="48"/>
                </a:cubicBezTo>
                <a:cubicBezTo>
                  <a:pt x="746" y="35"/>
                  <a:pt x="746" y="35"/>
                  <a:pt x="746" y="35"/>
                </a:cubicBezTo>
                <a:cubicBezTo>
                  <a:pt x="722" y="24"/>
                  <a:pt x="722" y="24"/>
                  <a:pt x="722" y="24"/>
                </a:cubicBezTo>
                <a:cubicBezTo>
                  <a:pt x="707" y="0"/>
                  <a:pt x="707" y="0"/>
                  <a:pt x="707" y="0"/>
                </a:cubicBezTo>
                <a:cubicBezTo>
                  <a:pt x="677" y="30"/>
                  <a:pt x="677" y="30"/>
                  <a:pt x="677" y="30"/>
                </a:cubicBezTo>
                <a:cubicBezTo>
                  <a:pt x="677" y="0"/>
                  <a:pt x="677" y="0"/>
                  <a:pt x="677" y="0"/>
                </a:cubicBezTo>
                <a:cubicBezTo>
                  <a:pt x="731" y="0"/>
                  <a:pt x="731" y="0"/>
                  <a:pt x="731" y="0"/>
                </a:cubicBezTo>
                <a:cubicBezTo>
                  <a:pt x="767" y="0"/>
                  <a:pt x="798" y="31"/>
                  <a:pt x="798" y="69"/>
                </a:cubicBezTo>
                <a:close/>
                <a:moveTo>
                  <a:pt x="1105" y="69"/>
                </a:moveTo>
                <a:cubicBezTo>
                  <a:pt x="1105" y="107"/>
                  <a:pt x="1074" y="138"/>
                  <a:pt x="1036" y="138"/>
                </a:cubicBezTo>
                <a:cubicBezTo>
                  <a:pt x="984" y="138"/>
                  <a:pt x="984" y="138"/>
                  <a:pt x="984" y="138"/>
                </a:cubicBezTo>
                <a:cubicBezTo>
                  <a:pt x="984" y="0"/>
                  <a:pt x="984" y="0"/>
                  <a:pt x="984" y="0"/>
                </a:cubicBezTo>
                <a:cubicBezTo>
                  <a:pt x="1036" y="0"/>
                  <a:pt x="1036" y="0"/>
                  <a:pt x="1036" y="0"/>
                </a:cubicBezTo>
                <a:cubicBezTo>
                  <a:pt x="1074" y="0"/>
                  <a:pt x="1105" y="31"/>
                  <a:pt x="1105" y="69"/>
                </a:cubicBezTo>
                <a:close/>
                <a:moveTo>
                  <a:pt x="1075" y="69"/>
                </a:moveTo>
                <a:cubicBezTo>
                  <a:pt x="1075" y="47"/>
                  <a:pt x="1057" y="30"/>
                  <a:pt x="1036" y="30"/>
                </a:cubicBezTo>
                <a:cubicBezTo>
                  <a:pt x="1015" y="30"/>
                  <a:pt x="1015" y="30"/>
                  <a:pt x="1015" y="30"/>
                </a:cubicBezTo>
                <a:cubicBezTo>
                  <a:pt x="1015" y="107"/>
                  <a:pt x="1015" y="107"/>
                  <a:pt x="1015" y="107"/>
                </a:cubicBezTo>
                <a:cubicBezTo>
                  <a:pt x="1036" y="107"/>
                  <a:pt x="1036" y="107"/>
                  <a:pt x="1036" y="107"/>
                </a:cubicBezTo>
                <a:cubicBezTo>
                  <a:pt x="1057" y="107"/>
                  <a:pt x="1075" y="90"/>
                  <a:pt x="1075" y="69"/>
                </a:cubicBezTo>
                <a:close/>
                <a:moveTo>
                  <a:pt x="317" y="69"/>
                </a:moveTo>
                <a:cubicBezTo>
                  <a:pt x="317" y="107"/>
                  <a:pt x="286" y="138"/>
                  <a:pt x="248" y="138"/>
                </a:cubicBezTo>
                <a:cubicBezTo>
                  <a:pt x="196" y="138"/>
                  <a:pt x="196" y="138"/>
                  <a:pt x="196" y="138"/>
                </a:cubicBezTo>
                <a:cubicBezTo>
                  <a:pt x="196" y="0"/>
                  <a:pt x="196" y="0"/>
                  <a:pt x="196" y="0"/>
                </a:cubicBezTo>
                <a:cubicBezTo>
                  <a:pt x="248" y="0"/>
                  <a:pt x="248" y="0"/>
                  <a:pt x="248" y="0"/>
                </a:cubicBezTo>
                <a:cubicBezTo>
                  <a:pt x="286" y="0"/>
                  <a:pt x="317" y="31"/>
                  <a:pt x="317" y="69"/>
                </a:cubicBezTo>
                <a:close/>
                <a:moveTo>
                  <a:pt x="287" y="69"/>
                </a:moveTo>
                <a:cubicBezTo>
                  <a:pt x="287" y="47"/>
                  <a:pt x="269" y="30"/>
                  <a:pt x="248" y="30"/>
                </a:cubicBezTo>
                <a:cubicBezTo>
                  <a:pt x="226" y="30"/>
                  <a:pt x="226" y="30"/>
                  <a:pt x="226" y="30"/>
                </a:cubicBezTo>
                <a:cubicBezTo>
                  <a:pt x="226" y="107"/>
                  <a:pt x="226" y="107"/>
                  <a:pt x="226" y="107"/>
                </a:cubicBezTo>
                <a:cubicBezTo>
                  <a:pt x="248" y="107"/>
                  <a:pt x="248" y="107"/>
                  <a:pt x="248" y="107"/>
                </a:cubicBezTo>
                <a:cubicBezTo>
                  <a:pt x="269" y="107"/>
                  <a:pt x="287" y="90"/>
                  <a:pt x="287" y="69"/>
                </a:cubicBezTo>
                <a:close/>
                <a:moveTo>
                  <a:pt x="0" y="138"/>
                </a:moveTo>
                <a:cubicBezTo>
                  <a:pt x="31" y="138"/>
                  <a:pt x="31" y="138"/>
                  <a:pt x="31" y="138"/>
                </a:cubicBezTo>
                <a:cubicBezTo>
                  <a:pt x="31" y="84"/>
                  <a:pt x="31" y="84"/>
                  <a:pt x="31" y="84"/>
                </a:cubicBezTo>
                <a:cubicBezTo>
                  <a:pt x="82" y="84"/>
                  <a:pt x="82" y="84"/>
                  <a:pt x="82" y="84"/>
                </a:cubicBezTo>
                <a:cubicBezTo>
                  <a:pt x="82" y="54"/>
                  <a:pt x="82" y="54"/>
                  <a:pt x="82" y="54"/>
                </a:cubicBezTo>
                <a:cubicBezTo>
                  <a:pt x="31" y="54"/>
                  <a:pt x="31" y="54"/>
                  <a:pt x="31" y="54"/>
                </a:cubicBezTo>
                <a:cubicBezTo>
                  <a:pt x="31" y="30"/>
                  <a:pt x="31" y="30"/>
                  <a:pt x="31" y="30"/>
                </a:cubicBezTo>
                <a:cubicBezTo>
                  <a:pt x="87" y="30"/>
                  <a:pt x="87" y="30"/>
                  <a:pt x="87" y="30"/>
                </a:cubicBezTo>
                <a:cubicBezTo>
                  <a:pt x="87" y="0"/>
                  <a:pt x="87" y="0"/>
                  <a:pt x="87" y="0"/>
                </a:cubicBezTo>
                <a:cubicBezTo>
                  <a:pt x="0" y="0"/>
                  <a:pt x="0" y="0"/>
                  <a:pt x="0" y="0"/>
                </a:cubicBezTo>
                <a:lnTo>
                  <a:pt x="0" y="138"/>
                </a:lnTo>
                <a:close/>
                <a:moveTo>
                  <a:pt x="439" y="30"/>
                </a:moveTo>
                <a:cubicBezTo>
                  <a:pt x="439" y="0"/>
                  <a:pt x="439" y="0"/>
                  <a:pt x="439" y="0"/>
                </a:cubicBezTo>
                <a:cubicBezTo>
                  <a:pt x="352" y="0"/>
                  <a:pt x="352" y="0"/>
                  <a:pt x="352" y="0"/>
                </a:cubicBezTo>
                <a:cubicBezTo>
                  <a:pt x="352" y="138"/>
                  <a:pt x="352" y="138"/>
                  <a:pt x="352" y="138"/>
                </a:cubicBezTo>
                <a:cubicBezTo>
                  <a:pt x="439" y="138"/>
                  <a:pt x="439" y="138"/>
                  <a:pt x="439" y="138"/>
                </a:cubicBezTo>
                <a:cubicBezTo>
                  <a:pt x="439" y="108"/>
                  <a:pt x="439" y="108"/>
                  <a:pt x="439" y="108"/>
                </a:cubicBezTo>
                <a:cubicBezTo>
                  <a:pt x="382" y="108"/>
                  <a:pt x="382" y="108"/>
                  <a:pt x="382" y="108"/>
                </a:cubicBezTo>
                <a:cubicBezTo>
                  <a:pt x="382" y="84"/>
                  <a:pt x="382" y="84"/>
                  <a:pt x="382" y="84"/>
                </a:cubicBezTo>
                <a:cubicBezTo>
                  <a:pt x="433" y="84"/>
                  <a:pt x="433" y="84"/>
                  <a:pt x="433" y="84"/>
                </a:cubicBezTo>
                <a:cubicBezTo>
                  <a:pt x="433" y="54"/>
                  <a:pt x="433" y="54"/>
                  <a:pt x="433" y="54"/>
                </a:cubicBezTo>
                <a:cubicBezTo>
                  <a:pt x="382" y="54"/>
                  <a:pt x="382" y="54"/>
                  <a:pt x="382" y="54"/>
                </a:cubicBezTo>
                <a:cubicBezTo>
                  <a:pt x="382" y="30"/>
                  <a:pt x="382" y="30"/>
                  <a:pt x="382" y="30"/>
                </a:cubicBezTo>
                <a:lnTo>
                  <a:pt x="439" y="30"/>
                </a:lnTo>
                <a:close/>
                <a:moveTo>
                  <a:pt x="605" y="138"/>
                </a:moveTo>
                <a:cubicBezTo>
                  <a:pt x="635" y="138"/>
                  <a:pt x="635" y="138"/>
                  <a:pt x="635" y="138"/>
                </a:cubicBezTo>
                <a:cubicBezTo>
                  <a:pt x="635" y="0"/>
                  <a:pt x="635" y="0"/>
                  <a:pt x="635" y="0"/>
                </a:cubicBezTo>
                <a:cubicBezTo>
                  <a:pt x="605" y="0"/>
                  <a:pt x="605" y="0"/>
                  <a:pt x="605" y="0"/>
                </a:cubicBezTo>
                <a:lnTo>
                  <a:pt x="605" y="138"/>
                </a:lnTo>
                <a:close/>
                <a:moveTo>
                  <a:pt x="509" y="0"/>
                </a:moveTo>
                <a:cubicBezTo>
                  <a:pt x="478" y="0"/>
                  <a:pt x="478" y="0"/>
                  <a:pt x="478" y="0"/>
                </a:cubicBezTo>
                <a:cubicBezTo>
                  <a:pt x="478" y="136"/>
                  <a:pt x="478" y="136"/>
                  <a:pt x="478" y="136"/>
                </a:cubicBezTo>
                <a:cubicBezTo>
                  <a:pt x="478" y="138"/>
                  <a:pt x="478" y="138"/>
                  <a:pt x="478" y="138"/>
                </a:cubicBezTo>
                <a:cubicBezTo>
                  <a:pt x="566" y="138"/>
                  <a:pt x="566" y="138"/>
                  <a:pt x="566" y="138"/>
                </a:cubicBezTo>
                <a:cubicBezTo>
                  <a:pt x="566" y="108"/>
                  <a:pt x="566" y="108"/>
                  <a:pt x="566" y="108"/>
                </a:cubicBezTo>
                <a:cubicBezTo>
                  <a:pt x="509" y="108"/>
                  <a:pt x="509" y="108"/>
                  <a:pt x="509" y="108"/>
                </a:cubicBezTo>
                <a:lnTo>
                  <a:pt x="509" y="0"/>
                </a:lnTo>
                <a:close/>
                <a:moveTo>
                  <a:pt x="127" y="138"/>
                </a:moveTo>
                <a:cubicBezTo>
                  <a:pt x="157" y="138"/>
                  <a:pt x="157" y="138"/>
                  <a:pt x="157" y="138"/>
                </a:cubicBezTo>
                <a:cubicBezTo>
                  <a:pt x="157" y="0"/>
                  <a:pt x="157" y="0"/>
                  <a:pt x="157" y="0"/>
                </a:cubicBezTo>
                <a:cubicBezTo>
                  <a:pt x="127" y="0"/>
                  <a:pt x="127" y="0"/>
                  <a:pt x="127" y="0"/>
                </a:cubicBezTo>
                <a:lnTo>
                  <a:pt x="127" y="138"/>
                </a:lnTo>
                <a:close/>
                <a:moveTo>
                  <a:pt x="1227" y="30"/>
                </a:moveTo>
                <a:cubicBezTo>
                  <a:pt x="1227" y="0"/>
                  <a:pt x="1227" y="0"/>
                  <a:pt x="1227" y="0"/>
                </a:cubicBezTo>
                <a:cubicBezTo>
                  <a:pt x="1140" y="0"/>
                  <a:pt x="1140" y="0"/>
                  <a:pt x="1140" y="0"/>
                </a:cubicBezTo>
                <a:cubicBezTo>
                  <a:pt x="1140" y="138"/>
                  <a:pt x="1140" y="138"/>
                  <a:pt x="1140" y="138"/>
                </a:cubicBezTo>
                <a:cubicBezTo>
                  <a:pt x="1227" y="138"/>
                  <a:pt x="1227" y="138"/>
                  <a:pt x="1227" y="138"/>
                </a:cubicBezTo>
                <a:cubicBezTo>
                  <a:pt x="1227" y="108"/>
                  <a:pt x="1227" y="108"/>
                  <a:pt x="1227" y="108"/>
                </a:cubicBezTo>
                <a:cubicBezTo>
                  <a:pt x="1170" y="108"/>
                  <a:pt x="1170" y="108"/>
                  <a:pt x="1170" y="108"/>
                </a:cubicBezTo>
                <a:cubicBezTo>
                  <a:pt x="1170" y="84"/>
                  <a:pt x="1170" y="84"/>
                  <a:pt x="1170" y="84"/>
                </a:cubicBezTo>
                <a:cubicBezTo>
                  <a:pt x="1221" y="84"/>
                  <a:pt x="1221" y="84"/>
                  <a:pt x="1221" y="84"/>
                </a:cubicBezTo>
                <a:cubicBezTo>
                  <a:pt x="1221" y="54"/>
                  <a:pt x="1221" y="54"/>
                  <a:pt x="1221" y="54"/>
                </a:cubicBezTo>
                <a:cubicBezTo>
                  <a:pt x="1170" y="54"/>
                  <a:pt x="1170" y="54"/>
                  <a:pt x="1170" y="54"/>
                </a:cubicBezTo>
                <a:cubicBezTo>
                  <a:pt x="1170" y="30"/>
                  <a:pt x="1170" y="30"/>
                  <a:pt x="1170" y="30"/>
                </a:cubicBezTo>
                <a:lnTo>
                  <a:pt x="1227" y="30"/>
                </a:lnTo>
                <a:close/>
                <a:moveTo>
                  <a:pt x="953" y="138"/>
                </a:moveTo>
                <a:cubicBezTo>
                  <a:pt x="923" y="138"/>
                  <a:pt x="923" y="138"/>
                  <a:pt x="923" y="138"/>
                </a:cubicBezTo>
                <a:cubicBezTo>
                  <a:pt x="912" y="111"/>
                  <a:pt x="912" y="111"/>
                  <a:pt x="912" y="111"/>
                </a:cubicBezTo>
                <a:cubicBezTo>
                  <a:pt x="854" y="111"/>
                  <a:pt x="854" y="111"/>
                  <a:pt x="854" y="111"/>
                </a:cubicBezTo>
                <a:cubicBezTo>
                  <a:pt x="843" y="138"/>
                  <a:pt x="843" y="138"/>
                  <a:pt x="843" y="138"/>
                </a:cubicBezTo>
                <a:cubicBezTo>
                  <a:pt x="813" y="138"/>
                  <a:pt x="813" y="138"/>
                  <a:pt x="813" y="138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98" y="0"/>
                  <a:pt x="898" y="0"/>
                  <a:pt x="898" y="0"/>
                </a:cubicBezTo>
                <a:cubicBezTo>
                  <a:pt x="898" y="0"/>
                  <a:pt x="898" y="0"/>
                  <a:pt x="898" y="0"/>
                </a:cubicBezTo>
                <a:lnTo>
                  <a:pt x="953" y="138"/>
                </a:lnTo>
                <a:close/>
                <a:moveTo>
                  <a:pt x="866" y="81"/>
                </a:moveTo>
                <a:cubicBezTo>
                  <a:pt x="900" y="81"/>
                  <a:pt x="900" y="81"/>
                  <a:pt x="900" y="81"/>
                </a:cubicBezTo>
                <a:cubicBezTo>
                  <a:pt x="883" y="38"/>
                  <a:pt x="883" y="38"/>
                  <a:pt x="883" y="38"/>
                </a:cubicBezTo>
                <a:lnTo>
                  <a:pt x="866" y="81"/>
                </a:lnTo>
                <a:close/>
              </a:path>
            </a:pathLst>
          </a:custGeom>
          <a:solidFill>
            <a:srgbClr val="EE2429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3E5AD29-EAEA-4E41-9E62-4291BED2F71F}"/>
              </a:ext>
            </a:extLst>
          </p:cNvPr>
          <p:cNvSpPr txBox="1">
            <a:spLocks/>
          </p:cNvSpPr>
          <p:nvPr userDrawn="1"/>
        </p:nvSpPr>
        <p:spPr>
          <a:xfrm>
            <a:off x="10072925" y="6500319"/>
            <a:ext cx="414991" cy="27297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0AB00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0AB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0A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0AB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0AB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154">
              <a:buNone/>
            </a:pPr>
            <a:fld id="{EC2197B9-0781-410E-B4E1-AA5D5C4F6070}" type="slidenum">
              <a:rPr lang="pt-PT" sz="1200" b="1" smtClean="0">
                <a:solidFill>
                  <a:srgbClr val="FFFFFF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pPr marL="0" indent="0" algn="ctr" defTabSz="457154">
                <a:buNone/>
              </a:pPr>
              <a:t>‹#›</a:t>
            </a:fld>
            <a:endParaRPr lang="pt-PT" sz="1200" b="1">
              <a:solidFill>
                <a:srgbClr val="FFFFFF"/>
              </a:soli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66849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2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268399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1726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22151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1212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293699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2511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27989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753318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22919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73278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4155E0-F2A4-4A6C-AE37-4EA9F74597F4}" type="datetimeFigureOut">
              <a:rPr lang="pt-PT" smtClean="0"/>
              <a:t>16-12-202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899AE0-B870-429D-BDAC-C3AA8C1DC80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99466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0011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26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emf"/><Relationship Id="rId4" Type="http://schemas.openxmlformats.org/officeDocument/2006/relationships/image" Target="../media/image27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emf"/><Relationship Id="rId4" Type="http://schemas.openxmlformats.org/officeDocument/2006/relationships/image" Target="../media/image27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1.emf"/><Relationship Id="rId4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2.png"/><Relationship Id="rId4" Type="http://schemas.openxmlformats.org/officeDocument/2006/relationships/image" Target="../media/image27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emf"/><Relationship Id="rId4" Type="http://schemas.openxmlformats.org/officeDocument/2006/relationships/image" Target="../media/image27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svg"/><Relationship Id="rId5" Type="http://schemas.openxmlformats.org/officeDocument/2006/relationships/image" Target="../media/image3.png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.png"/><Relationship Id="rId7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sv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6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svg"/><Relationship Id="rId11" Type="http://schemas.openxmlformats.org/officeDocument/2006/relationships/image" Target="../media/image21.png"/><Relationship Id="rId5" Type="http://schemas.openxmlformats.org/officeDocument/2006/relationships/image" Target="../media/image3.png"/><Relationship Id="rId10" Type="http://schemas.openxmlformats.org/officeDocument/2006/relationships/image" Target="../media/image20.png"/><Relationship Id="rId4" Type="http://schemas.openxmlformats.org/officeDocument/2006/relationships/image" Target="../media/image17.svg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A8C6C824-F382-47EB-AD98-6F51107B52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BACA3E-8AFF-40D4-B840-60360C7E70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651B9185-AFF0-44AE-82EE-D64CA7F91EEB}"/>
              </a:ext>
            </a:extLst>
          </p:cNvPr>
          <p:cNvGrpSpPr/>
          <p:nvPr/>
        </p:nvGrpSpPr>
        <p:grpSpPr>
          <a:xfrm>
            <a:off x="666817" y="-420804"/>
            <a:ext cx="6126798" cy="7902781"/>
            <a:chOff x="666904" y="-421305"/>
            <a:chExt cx="6127596" cy="7903810"/>
          </a:xfrm>
        </p:grpSpPr>
        <p:pic>
          <p:nvPicPr>
            <p:cNvPr id="3" name="Gráfico 2">
              <a:extLst>
                <a:ext uri="{FF2B5EF4-FFF2-40B4-BE49-F238E27FC236}">
                  <a16:creationId xmlns:a16="http://schemas.microsoft.com/office/drawing/2014/main" id="{1048DB3E-E24C-4896-B0D9-C11C3578BD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98617" y="3459405"/>
              <a:ext cx="3697283" cy="671641"/>
            </a:xfrm>
            <a:prstGeom prst="rect">
              <a:avLst/>
            </a:prstGeom>
          </p:spPr>
        </p:pic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0516C137-47BB-4A59-A83B-03A2F42F9966}"/>
                </a:ext>
              </a:extLst>
            </p:cNvPr>
            <p:cNvSpPr/>
            <p:nvPr/>
          </p:nvSpPr>
          <p:spPr>
            <a:xfrm>
              <a:off x="666904" y="-421305"/>
              <a:ext cx="6127596" cy="7903810"/>
            </a:xfrm>
            <a:custGeom>
              <a:avLst/>
              <a:gdLst>
                <a:gd name="connsiteX0" fmla="*/ 1315720 w 4909820"/>
                <a:gd name="connsiteY0" fmla="*/ 0 h 6333035"/>
                <a:gd name="connsiteX1" fmla="*/ 1988820 w 4909820"/>
                <a:gd name="connsiteY1" fmla="*/ 1130300 h 6333035"/>
                <a:gd name="connsiteX2" fmla="*/ 3112770 w 4909820"/>
                <a:gd name="connsiteY2" fmla="*/ 1619250 h 6333035"/>
                <a:gd name="connsiteX3" fmla="*/ 3265170 w 4909820"/>
                <a:gd name="connsiteY3" fmla="*/ 2216150 h 6333035"/>
                <a:gd name="connsiteX4" fmla="*/ 4909820 w 4909820"/>
                <a:gd name="connsiteY4" fmla="*/ 3194050 h 6333035"/>
                <a:gd name="connsiteX5" fmla="*/ 4321272 w 4909820"/>
                <a:gd name="connsiteY5" fmla="*/ 4371146 h 6333035"/>
                <a:gd name="connsiteX6" fmla="*/ 4325620 w 4909820"/>
                <a:gd name="connsiteY6" fmla="*/ 4374356 h 6333035"/>
                <a:gd name="connsiteX7" fmla="*/ 3652520 w 4909820"/>
                <a:gd name="connsiteY7" fmla="*/ 4672806 h 6333035"/>
                <a:gd name="connsiteX8" fmla="*/ 1315720 w 4909820"/>
                <a:gd name="connsiteY8" fmla="*/ 4666456 h 6333035"/>
                <a:gd name="connsiteX9" fmla="*/ 0 w 4909820"/>
                <a:gd name="connsiteY9" fmla="*/ 6333035 h 6333035"/>
                <a:gd name="connsiteX10" fmla="*/ 0 w 4909820"/>
                <a:gd name="connsiteY10" fmla="*/ 1321956 h 6333035"/>
                <a:gd name="connsiteX11" fmla="*/ 1315720 w 4909820"/>
                <a:gd name="connsiteY11" fmla="*/ 0 h 6333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9820" h="6333035">
                  <a:moveTo>
                    <a:pt x="1315720" y="0"/>
                  </a:moveTo>
                  <a:lnTo>
                    <a:pt x="1988820" y="1130300"/>
                  </a:lnTo>
                  <a:lnTo>
                    <a:pt x="3112770" y="1619250"/>
                  </a:lnTo>
                  <a:lnTo>
                    <a:pt x="3265170" y="2216150"/>
                  </a:lnTo>
                  <a:lnTo>
                    <a:pt x="4909820" y="3194050"/>
                  </a:lnTo>
                  <a:lnTo>
                    <a:pt x="4321272" y="4371146"/>
                  </a:lnTo>
                  <a:lnTo>
                    <a:pt x="4325620" y="4374356"/>
                  </a:lnTo>
                  <a:lnTo>
                    <a:pt x="3652520" y="4672806"/>
                  </a:lnTo>
                  <a:lnTo>
                    <a:pt x="1315720" y="4666456"/>
                  </a:lnTo>
                  <a:lnTo>
                    <a:pt x="0" y="6333035"/>
                  </a:lnTo>
                  <a:lnTo>
                    <a:pt x="0" y="1321956"/>
                  </a:lnTo>
                  <a:lnTo>
                    <a:pt x="1315720" y="0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54"/>
              <a:endParaRPr lang="pt-PT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6F84D2D9-275D-40D7-A3DA-04F4DF0A3906}"/>
              </a:ext>
            </a:extLst>
          </p:cNvPr>
          <p:cNvSpPr/>
          <p:nvPr/>
        </p:nvSpPr>
        <p:spPr>
          <a:xfrm flipH="1">
            <a:off x="9636707" y="-202727"/>
            <a:ext cx="6119603" cy="8190434"/>
          </a:xfrm>
          <a:custGeom>
            <a:avLst/>
            <a:gdLst>
              <a:gd name="connsiteX0" fmla="*/ 0 w 5124056"/>
              <a:gd name="connsiteY0" fmla="*/ 0 h 6858000"/>
              <a:gd name="connsiteX1" fmla="*/ 5124056 w 5124056"/>
              <a:gd name="connsiteY1" fmla="*/ 0 h 6858000"/>
              <a:gd name="connsiteX2" fmla="*/ 3723639 w 5124056"/>
              <a:gd name="connsiteY2" fmla="*/ 1407054 h 6858000"/>
              <a:gd name="connsiteX3" fmla="*/ 3723639 w 5124056"/>
              <a:gd name="connsiteY3" fmla="*/ 6858000 h 6858000"/>
              <a:gd name="connsiteX4" fmla="*/ 0 w 5124056"/>
              <a:gd name="connsiteY4" fmla="*/ 6858000 h 6858000"/>
              <a:gd name="connsiteX5" fmla="*/ 0 w 5124056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4056" h="6858000">
                <a:moveTo>
                  <a:pt x="0" y="0"/>
                </a:moveTo>
                <a:lnTo>
                  <a:pt x="5124056" y="0"/>
                </a:lnTo>
                <a:lnTo>
                  <a:pt x="3723639" y="1407054"/>
                </a:lnTo>
                <a:lnTo>
                  <a:pt x="372363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CE06A6A0-88ED-4921-91C6-1707B74DB6FB}"/>
              </a:ext>
            </a:extLst>
          </p:cNvPr>
          <p:cNvGrpSpPr/>
          <p:nvPr/>
        </p:nvGrpSpPr>
        <p:grpSpPr>
          <a:xfrm>
            <a:off x="-3547" y="-202727"/>
            <a:ext cx="11272857" cy="8190434"/>
            <a:chOff x="-3548" y="-203200"/>
            <a:chExt cx="11274325" cy="8191500"/>
          </a:xfrm>
        </p:grpSpPr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F3C4DE29-43DD-4C22-9C47-CBB6AF447618}"/>
                </a:ext>
              </a:extLst>
            </p:cNvPr>
            <p:cNvSpPr/>
            <p:nvPr/>
          </p:nvSpPr>
          <p:spPr>
            <a:xfrm flipH="1">
              <a:off x="1193799" y="-203200"/>
              <a:ext cx="10076978" cy="8191500"/>
            </a:xfrm>
            <a:custGeom>
              <a:avLst/>
              <a:gdLst>
                <a:gd name="connsiteX0" fmla="*/ 1433990 w 8436540"/>
                <a:gd name="connsiteY0" fmla="*/ 0 h 6858000"/>
                <a:gd name="connsiteX1" fmla="*/ 8436540 w 8436540"/>
                <a:gd name="connsiteY1" fmla="*/ 0 h 6858000"/>
                <a:gd name="connsiteX2" fmla="*/ 8436540 w 8436540"/>
                <a:gd name="connsiteY2" fmla="*/ 6858000 h 6858000"/>
                <a:gd name="connsiteX3" fmla="*/ 0 w 8436540"/>
                <a:gd name="connsiteY3" fmla="*/ 6858000 h 6858000"/>
                <a:gd name="connsiteX4" fmla="*/ 1408915 w 8436540"/>
                <a:gd name="connsiteY4" fmla="*/ 5073375 h 6858000"/>
                <a:gd name="connsiteX5" fmla="*/ 3970570 w 8436540"/>
                <a:gd name="connsiteY5" fmla="*/ 5080336 h 6858000"/>
                <a:gd name="connsiteX6" fmla="*/ 4708438 w 8436540"/>
                <a:gd name="connsiteY6" fmla="*/ 4753168 h 6858000"/>
                <a:gd name="connsiteX7" fmla="*/ 4703672 w 8436540"/>
                <a:gd name="connsiteY7" fmla="*/ 4749649 h 6858000"/>
                <a:gd name="connsiteX8" fmla="*/ 5348852 w 8436540"/>
                <a:gd name="connsiteY8" fmla="*/ 3459288 h 6858000"/>
                <a:gd name="connsiteX9" fmla="*/ 3545948 w 8436540"/>
                <a:gd name="connsiteY9" fmla="*/ 2387291 h 6858000"/>
                <a:gd name="connsiteX10" fmla="*/ 3378883 w 8436540"/>
                <a:gd name="connsiteY10" fmla="*/ 1732955 h 6858000"/>
                <a:gd name="connsiteX11" fmla="*/ 2146783 w 8436540"/>
                <a:gd name="connsiteY11" fmla="*/ 1196956 h 6858000"/>
                <a:gd name="connsiteX12" fmla="*/ 1433990 w 8436540"/>
                <a:gd name="connsiteY12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36540" h="6858000">
                  <a:moveTo>
                    <a:pt x="1433990" y="0"/>
                  </a:moveTo>
                  <a:lnTo>
                    <a:pt x="8436540" y="0"/>
                  </a:lnTo>
                  <a:lnTo>
                    <a:pt x="8436540" y="6858000"/>
                  </a:lnTo>
                  <a:lnTo>
                    <a:pt x="0" y="6858000"/>
                  </a:lnTo>
                  <a:lnTo>
                    <a:pt x="1408915" y="5073375"/>
                  </a:lnTo>
                  <a:lnTo>
                    <a:pt x="3970570" y="5080336"/>
                  </a:lnTo>
                  <a:lnTo>
                    <a:pt x="4708438" y="4753168"/>
                  </a:lnTo>
                  <a:lnTo>
                    <a:pt x="4703672" y="4749649"/>
                  </a:lnTo>
                  <a:lnTo>
                    <a:pt x="5348852" y="3459288"/>
                  </a:lnTo>
                  <a:lnTo>
                    <a:pt x="3545948" y="2387291"/>
                  </a:lnTo>
                  <a:lnTo>
                    <a:pt x="3378883" y="1732955"/>
                  </a:lnTo>
                  <a:lnTo>
                    <a:pt x="2146783" y="1196956"/>
                  </a:lnTo>
                  <a:lnTo>
                    <a:pt x="14339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54"/>
              <a:endParaRPr lang="pt-PT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id="{E2B893E8-DF5D-4ECF-AE3A-BFDADFCA0517}"/>
                </a:ext>
              </a:extLst>
            </p:cNvPr>
            <p:cNvSpPr/>
            <p:nvPr/>
          </p:nvSpPr>
          <p:spPr>
            <a:xfrm>
              <a:off x="-3548" y="0"/>
              <a:ext cx="308964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54"/>
              <a:endParaRPr lang="pt-PT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pic>
        <p:nvPicPr>
          <p:cNvPr id="13" name="Gráfico 12">
            <a:extLst>
              <a:ext uri="{FF2B5EF4-FFF2-40B4-BE49-F238E27FC236}">
                <a16:creationId xmlns:a16="http://schemas.microsoft.com/office/drawing/2014/main" id="{11B7C3B8-9E2D-4583-B0DF-A9230E42C9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8956" y="2240551"/>
            <a:ext cx="3696803" cy="671554"/>
          </a:xfrm>
          <a:prstGeom prst="rect">
            <a:avLst/>
          </a:prstGeom>
        </p:spPr>
      </p:pic>
      <p:sp>
        <p:nvSpPr>
          <p:cNvPr id="26" name="Forma Livre: Forma 25">
            <a:extLst>
              <a:ext uri="{FF2B5EF4-FFF2-40B4-BE49-F238E27FC236}">
                <a16:creationId xmlns:a16="http://schemas.microsoft.com/office/drawing/2014/main" id="{9B24735E-11D2-4F27-BD6B-6E5390CF5FBA}"/>
              </a:ext>
            </a:extLst>
          </p:cNvPr>
          <p:cNvSpPr/>
          <p:nvPr/>
        </p:nvSpPr>
        <p:spPr>
          <a:xfrm flipH="1">
            <a:off x="5003635" y="-633339"/>
            <a:ext cx="6471826" cy="8347823"/>
          </a:xfrm>
          <a:custGeom>
            <a:avLst/>
            <a:gdLst>
              <a:gd name="connsiteX0" fmla="*/ 1315720 w 4909820"/>
              <a:gd name="connsiteY0" fmla="*/ 0 h 6333035"/>
              <a:gd name="connsiteX1" fmla="*/ 1988820 w 4909820"/>
              <a:gd name="connsiteY1" fmla="*/ 1130300 h 6333035"/>
              <a:gd name="connsiteX2" fmla="*/ 3112770 w 4909820"/>
              <a:gd name="connsiteY2" fmla="*/ 1619250 h 6333035"/>
              <a:gd name="connsiteX3" fmla="*/ 3265170 w 4909820"/>
              <a:gd name="connsiteY3" fmla="*/ 2216150 h 6333035"/>
              <a:gd name="connsiteX4" fmla="*/ 4909820 w 4909820"/>
              <a:gd name="connsiteY4" fmla="*/ 3194050 h 6333035"/>
              <a:gd name="connsiteX5" fmla="*/ 4321272 w 4909820"/>
              <a:gd name="connsiteY5" fmla="*/ 4371146 h 6333035"/>
              <a:gd name="connsiteX6" fmla="*/ 4325620 w 4909820"/>
              <a:gd name="connsiteY6" fmla="*/ 4374356 h 6333035"/>
              <a:gd name="connsiteX7" fmla="*/ 3652520 w 4909820"/>
              <a:gd name="connsiteY7" fmla="*/ 4672806 h 6333035"/>
              <a:gd name="connsiteX8" fmla="*/ 1315720 w 4909820"/>
              <a:gd name="connsiteY8" fmla="*/ 4666456 h 6333035"/>
              <a:gd name="connsiteX9" fmla="*/ 0 w 4909820"/>
              <a:gd name="connsiteY9" fmla="*/ 6333035 h 6333035"/>
              <a:gd name="connsiteX10" fmla="*/ 0 w 4909820"/>
              <a:gd name="connsiteY10" fmla="*/ 1321956 h 6333035"/>
              <a:gd name="connsiteX11" fmla="*/ 1315720 w 4909820"/>
              <a:gd name="connsiteY11" fmla="*/ 0 h 6333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09820" h="6333035">
                <a:moveTo>
                  <a:pt x="1315720" y="0"/>
                </a:moveTo>
                <a:lnTo>
                  <a:pt x="1988820" y="1130300"/>
                </a:lnTo>
                <a:lnTo>
                  <a:pt x="3112770" y="1619250"/>
                </a:lnTo>
                <a:lnTo>
                  <a:pt x="3265170" y="2216150"/>
                </a:lnTo>
                <a:lnTo>
                  <a:pt x="4909820" y="3194050"/>
                </a:lnTo>
                <a:lnTo>
                  <a:pt x="4321272" y="4371146"/>
                </a:lnTo>
                <a:lnTo>
                  <a:pt x="4325620" y="4374356"/>
                </a:lnTo>
                <a:lnTo>
                  <a:pt x="3652520" y="4672806"/>
                </a:lnTo>
                <a:lnTo>
                  <a:pt x="1315720" y="4666456"/>
                </a:lnTo>
                <a:lnTo>
                  <a:pt x="0" y="6333035"/>
                </a:lnTo>
                <a:lnTo>
                  <a:pt x="0" y="1321956"/>
                </a:lnTo>
                <a:lnTo>
                  <a:pt x="1315720" y="0"/>
                </a:lnTo>
                <a:close/>
              </a:path>
            </a:pathLst>
          </a:custGeom>
          <a:noFill/>
          <a:ln>
            <a:solidFill>
              <a:srgbClr val="EE24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DDE0AE3B-61E0-4EE4-802B-0C0878A055EC}"/>
              </a:ext>
            </a:extLst>
          </p:cNvPr>
          <p:cNvSpPr txBox="1"/>
          <p:nvPr/>
        </p:nvSpPr>
        <p:spPr>
          <a:xfrm>
            <a:off x="668380" y="3731555"/>
            <a:ext cx="1236236" cy="5909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54">
              <a:lnSpc>
                <a:spcPct val="90000"/>
              </a:lnSpc>
            </a:pPr>
            <a:r>
              <a:rPr lang="pt-BR" sz="3600" b="1">
                <a:solidFill>
                  <a:srgbClr val="EE2429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EDIT</a:t>
            </a:r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56BF9284-3502-4A96-9AAD-E17DE252B839}"/>
              </a:ext>
            </a:extLst>
          </p:cNvPr>
          <p:cNvCxnSpPr>
            <a:cxnSpLocks/>
          </p:cNvCxnSpPr>
          <p:nvPr/>
        </p:nvCxnSpPr>
        <p:spPr>
          <a:xfrm>
            <a:off x="792376" y="3447136"/>
            <a:ext cx="624283" cy="0"/>
          </a:xfrm>
          <a:prstGeom prst="line">
            <a:avLst/>
          </a:prstGeom>
          <a:ln w="57150">
            <a:solidFill>
              <a:srgbClr val="EE24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9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6" grpId="0" animBg="1"/>
      <p:bldP spid="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AD03883-EBE6-472B-9D33-D3279D57D8D0}"/>
              </a:ext>
            </a:extLst>
          </p:cNvPr>
          <p:cNvSpPr txBox="1">
            <a:spLocks/>
          </p:cNvSpPr>
          <p:nvPr/>
        </p:nvSpPr>
        <p:spPr>
          <a:xfrm>
            <a:off x="1665341" y="1324753"/>
            <a:ext cx="3167915" cy="428152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Construção </a:t>
            </a:r>
            <a:endParaRPr lang="pt-PT" sz="2000" b="1">
              <a:solidFill>
                <a:srgbClr val="7F7F7F"/>
              </a:solidFill>
              <a:latin typeface="Calibri" panose="020F0502020204030204"/>
              <a:cs typeface="Calibri" panose="020F0502020204030204"/>
            </a:endParaRPr>
          </a:p>
          <a:p>
            <a:r>
              <a:rPr lang="pt-PT" sz="3200"/>
              <a:t>da target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  <a:cs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A67C6D7-F444-4FD0-B96A-1D7E041704F4}"/>
              </a:ext>
            </a:extLst>
          </p:cNvPr>
          <p:cNvSpPr/>
          <p:nvPr/>
        </p:nvSpPr>
        <p:spPr>
          <a:xfrm>
            <a:off x="5653706" y="642605"/>
            <a:ext cx="6175868" cy="5702547"/>
          </a:xfrm>
          <a:prstGeom prst="rect">
            <a:avLst/>
          </a:prstGeom>
          <a:solidFill>
            <a:srgbClr val="F7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BFB166-D718-48D1-A5DD-01F41E4D734F}"/>
              </a:ext>
            </a:extLst>
          </p:cNvPr>
          <p:cNvSpPr txBox="1"/>
          <p:nvPr/>
        </p:nvSpPr>
        <p:spPr>
          <a:xfrm>
            <a:off x="7107586" y="1001587"/>
            <a:ext cx="451778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Clientes que não eram tomadores de vida risco no mês de análise e que compraram produto passados 2 me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DB3CDB-72CF-4A41-86B4-F44706382B38}"/>
              </a:ext>
            </a:extLst>
          </p:cNvPr>
          <p:cNvSpPr txBox="1"/>
          <p:nvPr/>
        </p:nvSpPr>
        <p:spPr>
          <a:xfrm>
            <a:off x="5832792" y="1025154"/>
            <a:ext cx="1361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Target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4C08A6-2EF8-4CA5-B085-F22F34E10179}"/>
              </a:ext>
            </a:extLst>
          </p:cNvPr>
          <p:cNvSpPr txBox="1"/>
          <p:nvPr/>
        </p:nvSpPr>
        <p:spPr>
          <a:xfrm>
            <a:off x="7107586" y="4125367"/>
            <a:ext cx="451778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Pessoas singulares ou empresários em nome individual (</a:t>
            </a:r>
            <a:r>
              <a:rPr lang="pt-PT" sz="1700" err="1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ENIs</a:t>
            </a:r>
            <a:r>
              <a:rPr lang="pt-PT" sz="170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BBA217-63B9-4612-9FE4-9173281AE512}"/>
              </a:ext>
            </a:extLst>
          </p:cNvPr>
          <p:cNvSpPr txBox="1"/>
          <p:nvPr/>
        </p:nvSpPr>
        <p:spPr>
          <a:xfrm>
            <a:off x="7107586" y="3493214"/>
            <a:ext cx="451778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Clientes tomadores de pelo menos uma apólice ativa diferente de vida risc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2DB91E-C5B9-4CA0-A99F-55627923061E}"/>
              </a:ext>
            </a:extLst>
          </p:cNvPr>
          <p:cNvSpPr txBox="1"/>
          <p:nvPr/>
        </p:nvSpPr>
        <p:spPr>
          <a:xfrm>
            <a:off x="5832792" y="3493214"/>
            <a:ext cx="1361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Inclui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4B57905-5ADE-4E87-8A44-A81956026E7F}"/>
              </a:ext>
            </a:extLst>
          </p:cNvPr>
          <p:cNvCxnSpPr>
            <a:cxnSpLocks/>
          </p:cNvCxnSpPr>
          <p:nvPr/>
        </p:nvCxnSpPr>
        <p:spPr>
          <a:xfrm>
            <a:off x="5907640" y="3215811"/>
            <a:ext cx="5578867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5A715F1-1801-4532-8939-9A67558224EB}"/>
              </a:ext>
            </a:extLst>
          </p:cNvPr>
          <p:cNvSpPr txBox="1"/>
          <p:nvPr/>
        </p:nvSpPr>
        <p:spPr>
          <a:xfrm>
            <a:off x="7107586" y="4747331"/>
            <a:ext cx="451778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Idade entre os 18 e 50 ano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3BFCC1-4E37-4ACC-8B59-E24A16467E32}"/>
              </a:ext>
            </a:extLst>
          </p:cNvPr>
          <p:cNvSpPr txBox="1"/>
          <p:nvPr/>
        </p:nvSpPr>
        <p:spPr>
          <a:xfrm>
            <a:off x="7107586" y="1999668"/>
            <a:ext cx="451778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Clientes que não eram tomadores de vida risco no mês de análise e que não compraram um produto nos dois meses seguint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CAC1902-FD5A-48E8-B9BF-D749C4E972D2}"/>
              </a:ext>
            </a:extLst>
          </p:cNvPr>
          <p:cNvSpPr txBox="1"/>
          <p:nvPr/>
        </p:nvSpPr>
        <p:spPr>
          <a:xfrm>
            <a:off x="5832792" y="2023235"/>
            <a:ext cx="1361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Target 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7A68576-E195-4BD6-8F1C-0FB910EF7586}"/>
              </a:ext>
            </a:extLst>
          </p:cNvPr>
          <p:cNvSpPr txBox="1"/>
          <p:nvPr/>
        </p:nvSpPr>
        <p:spPr>
          <a:xfrm>
            <a:off x="7107586" y="5236941"/>
            <a:ext cx="451778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Mediadores, colaboradores da fidelidade, falecidos e clientes confidenciai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2968848-10AF-40A0-B911-A6FBEED744ED}"/>
              </a:ext>
            </a:extLst>
          </p:cNvPr>
          <p:cNvSpPr txBox="1"/>
          <p:nvPr/>
        </p:nvSpPr>
        <p:spPr>
          <a:xfrm>
            <a:off x="5832792" y="5249763"/>
            <a:ext cx="1361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Excluir</a:t>
            </a:r>
          </a:p>
        </p:txBody>
      </p:sp>
    </p:spTree>
    <p:extLst>
      <p:ext uri="{BB962C8B-B14F-4D97-AF65-F5344CB8AC3E}">
        <p14:creationId xmlns:p14="http://schemas.microsoft.com/office/powerpoint/2010/main" val="390287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6" grpId="0"/>
      <p:bldP spid="20" grpId="0"/>
      <p:bldP spid="13" grpId="0"/>
      <p:bldP spid="17" grpId="0"/>
      <p:bldP spid="21" grpId="0"/>
      <p:bldP spid="22" grpId="0"/>
      <p:bldP spid="23" grpId="0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047" y="2349021"/>
            <a:ext cx="4274431" cy="260248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F47F951-DD6B-46F6-8A38-95C66B41CF0E}"/>
              </a:ext>
            </a:extLst>
          </p:cNvPr>
          <p:cNvSpPr txBox="1">
            <a:spLocks/>
          </p:cNvSpPr>
          <p:nvPr/>
        </p:nvSpPr>
        <p:spPr>
          <a:xfrm>
            <a:off x="1665341" y="1324753"/>
            <a:ext cx="3167915" cy="428152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 err="1"/>
              <a:t>Questions</a:t>
            </a:r>
            <a:r>
              <a:rPr lang="pt-PT" sz="3200"/>
              <a:t> &amp; </a:t>
            </a:r>
            <a:r>
              <a:rPr lang="pt-PT" sz="3200" err="1"/>
              <a:t>Answers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1369773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557CC497-5E59-4B78-8A07-E6BD258136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01"/>
            <a:ext cx="12192000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A90331BB-38F0-47D0-9E41-63D5EF8A31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98409" y="3459401"/>
            <a:ext cx="3696802" cy="671554"/>
          </a:xfrm>
          <a:prstGeom prst="rect">
            <a:avLst/>
          </a:prstGeom>
        </p:spPr>
      </p:pic>
      <p:sp>
        <p:nvSpPr>
          <p:cNvPr id="4" name="Forma Livre: Forma 3">
            <a:extLst>
              <a:ext uri="{FF2B5EF4-FFF2-40B4-BE49-F238E27FC236}">
                <a16:creationId xmlns:a16="http://schemas.microsoft.com/office/drawing/2014/main" id="{D4A2BABD-47F3-4A90-9F0D-8E1FF1D3FB55}"/>
              </a:ext>
            </a:extLst>
          </p:cNvPr>
          <p:cNvSpPr/>
          <p:nvPr/>
        </p:nvSpPr>
        <p:spPr>
          <a:xfrm>
            <a:off x="666817" y="-420804"/>
            <a:ext cx="6126798" cy="7902781"/>
          </a:xfrm>
          <a:custGeom>
            <a:avLst/>
            <a:gdLst>
              <a:gd name="connsiteX0" fmla="*/ 1315720 w 4909820"/>
              <a:gd name="connsiteY0" fmla="*/ 0 h 6333035"/>
              <a:gd name="connsiteX1" fmla="*/ 1988820 w 4909820"/>
              <a:gd name="connsiteY1" fmla="*/ 1130300 h 6333035"/>
              <a:gd name="connsiteX2" fmla="*/ 3112770 w 4909820"/>
              <a:gd name="connsiteY2" fmla="*/ 1619250 h 6333035"/>
              <a:gd name="connsiteX3" fmla="*/ 3265170 w 4909820"/>
              <a:gd name="connsiteY3" fmla="*/ 2216150 h 6333035"/>
              <a:gd name="connsiteX4" fmla="*/ 4909820 w 4909820"/>
              <a:gd name="connsiteY4" fmla="*/ 3194050 h 6333035"/>
              <a:gd name="connsiteX5" fmla="*/ 4321272 w 4909820"/>
              <a:gd name="connsiteY5" fmla="*/ 4371146 h 6333035"/>
              <a:gd name="connsiteX6" fmla="*/ 4325620 w 4909820"/>
              <a:gd name="connsiteY6" fmla="*/ 4374356 h 6333035"/>
              <a:gd name="connsiteX7" fmla="*/ 3652520 w 4909820"/>
              <a:gd name="connsiteY7" fmla="*/ 4672806 h 6333035"/>
              <a:gd name="connsiteX8" fmla="*/ 1315720 w 4909820"/>
              <a:gd name="connsiteY8" fmla="*/ 4666456 h 6333035"/>
              <a:gd name="connsiteX9" fmla="*/ 0 w 4909820"/>
              <a:gd name="connsiteY9" fmla="*/ 6333035 h 6333035"/>
              <a:gd name="connsiteX10" fmla="*/ 0 w 4909820"/>
              <a:gd name="connsiteY10" fmla="*/ 1321956 h 6333035"/>
              <a:gd name="connsiteX11" fmla="*/ 1315720 w 4909820"/>
              <a:gd name="connsiteY11" fmla="*/ 0 h 6333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09820" h="6333035">
                <a:moveTo>
                  <a:pt x="1315720" y="0"/>
                </a:moveTo>
                <a:lnTo>
                  <a:pt x="1988820" y="1130300"/>
                </a:lnTo>
                <a:lnTo>
                  <a:pt x="3112770" y="1619250"/>
                </a:lnTo>
                <a:lnTo>
                  <a:pt x="3265170" y="2216150"/>
                </a:lnTo>
                <a:lnTo>
                  <a:pt x="4909820" y="3194050"/>
                </a:lnTo>
                <a:lnTo>
                  <a:pt x="4321272" y="4371146"/>
                </a:lnTo>
                <a:lnTo>
                  <a:pt x="4325620" y="4374356"/>
                </a:lnTo>
                <a:lnTo>
                  <a:pt x="3652520" y="4672806"/>
                </a:lnTo>
                <a:lnTo>
                  <a:pt x="1315720" y="4666456"/>
                </a:lnTo>
                <a:lnTo>
                  <a:pt x="0" y="6333035"/>
                </a:lnTo>
                <a:lnTo>
                  <a:pt x="0" y="1321956"/>
                </a:lnTo>
                <a:lnTo>
                  <a:pt x="131572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754304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7EEAD6D1-8279-47D9-B582-0D650E93CE16}"/>
              </a:ext>
            </a:extLst>
          </p:cNvPr>
          <p:cNvGrpSpPr/>
          <p:nvPr/>
        </p:nvGrpSpPr>
        <p:grpSpPr>
          <a:xfrm>
            <a:off x="3725381" y="1006657"/>
            <a:ext cx="4628786" cy="4628786"/>
            <a:chOff x="3725381" y="1006657"/>
            <a:chExt cx="4628786" cy="4628786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1C67B78-7FF1-44EB-A8FD-D84CCA4B9DCC}"/>
                </a:ext>
              </a:extLst>
            </p:cNvPr>
            <p:cNvSpPr/>
            <p:nvPr/>
          </p:nvSpPr>
          <p:spPr>
            <a:xfrm>
              <a:off x="3725381" y="1006657"/>
              <a:ext cx="4628786" cy="4628786"/>
            </a:xfrm>
            <a:prstGeom prst="ellipse">
              <a:avLst/>
            </a:prstGeom>
            <a:solidFill>
              <a:srgbClr val="F7F7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pic>
          <p:nvPicPr>
            <p:cNvPr id="13" name="Picture 12" descr="Text&#10;&#10;Description automatically generated">
              <a:extLst>
                <a:ext uri="{FF2B5EF4-FFF2-40B4-BE49-F238E27FC236}">
                  <a16:creationId xmlns:a16="http://schemas.microsoft.com/office/drawing/2014/main" id="{4D67ABD4-E66E-4936-AE87-6B9F38EBD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3247" y="1914663"/>
              <a:ext cx="2345505" cy="2812774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3CBDABE9-AEF2-40DF-96DC-FAC87FC49294}"/>
              </a:ext>
            </a:extLst>
          </p:cNvPr>
          <p:cNvSpPr txBox="1">
            <a:spLocks/>
          </p:cNvSpPr>
          <p:nvPr/>
        </p:nvSpPr>
        <p:spPr>
          <a:xfrm>
            <a:off x="1665341" y="1324753"/>
            <a:ext cx="3167915" cy="428152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 b="1"/>
              <a:t>Anexos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085686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BD23CAD-8C2B-4D3E-995E-2F46EA74EAB1}"/>
              </a:ext>
            </a:extLst>
          </p:cNvPr>
          <p:cNvSpPr txBox="1">
            <a:spLocks/>
          </p:cNvSpPr>
          <p:nvPr/>
        </p:nvSpPr>
        <p:spPr>
          <a:xfrm>
            <a:off x="404712" y="516472"/>
            <a:ext cx="5651716" cy="128569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Dicionário de dados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66CB13-10B4-4482-B848-F0BF8B3844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70246" y="721453"/>
            <a:ext cx="7309529" cy="5298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37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BD23CAD-8C2B-4D3E-995E-2F46EA74EAB1}"/>
              </a:ext>
            </a:extLst>
          </p:cNvPr>
          <p:cNvSpPr txBox="1">
            <a:spLocks/>
          </p:cNvSpPr>
          <p:nvPr/>
        </p:nvSpPr>
        <p:spPr>
          <a:xfrm>
            <a:off x="404712" y="516472"/>
            <a:ext cx="5651716" cy="128569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Dicionário de dados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EBAC71-DE0B-448F-81E8-D1BEBEB062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1215" y="516472"/>
            <a:ext cx="7836073" cy="5825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59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88893" y="6210055"/>
            <a:ext cx="1447472" cy="26294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1B7848B-0DC3-41AC-A854-BB57298C79FD}"/>
              </a:ext>
            </a:extLst>
          </p:cNvPr>
          <p:cNvSpPr/>
          <p:nvPr/>
        </p:nvSpPr>
        <p:spPr>
          <a:xfrm>
            <a:off x="5611420" y="1250302"/>
            <a:ext cx="6175868" cy="4033666"/>
          </a:xfrm>
          <a:prstGeom prst="rect">
            <a:avLst/>
          </a:prstGeom>
          <a:solidFill>
            <a:srgbClr val="F7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D1126E-23F1-48B1-9EED-A3FBF200D931}"/>
              </a:ext>
            </a:extLst>
          </p:cNvPr>
          <p:cNvSpPr txBox="1"/>
          <p:nvPr/>
        </p:nvSpPr>
        <p:spPr>
          <a:xfrm>
            <a:off x="7576482" y="1468814"/>
            <a:ext cx="42108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É quem beneficia do seguro, estando identificada na apól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77C221-AD21-400C-95F8-8EE867710F9B}"/>
              </a:ext>
            </a:extLst>
          </p:cNvPr>
          <p:cNvSpPr txBox="1"/>
          <p:nvPr/>
        </p:nvSpPr>
        <p:spPr>
          <a:xfrm>
            <a:off x="5696074" y="1461926"/>
            <a:ext cx="17928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Segurado/ Pessoas segura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F9E2C2-5DB6-4796-BC15-6600B920A6DA}"/>
              </a:ext>
            </a:extLst>
          </p:cNvPr>
          <p:cNvSpPr txBox="1"/>
          <p:nvPr/>
        </p:nvSpPr>
        <p:spPr>
          <a:xfrm>
            <a:off x="7487878" y="2479644"/>
            <a:ext cx="4343712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PT" sz="1600">
                <a:solidFill>
                  <a:srgbClr val="1C1C1C"/>
                </a:solidFill>
                <a:latin typeface="72"/>
                <a:cs typeface="72" panose="020B0503030000000003" pitchFamily="34" charset="0"/>
              </a:rPr>
              <a:t>A pessoa singular ou coletiva que celebra o contrato de seguro com o Segurador, sendo responsável pelo pagamento do prémi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235F39-E867-4D25-A3B6-AC981FDC1DEE}"/>
              </a:ext>
            </a:extLst>
          </p:cNvPr>
          <p:cNvSpPr txBox="1"/>
          <p:nvPr/>
        </p:nvSpPr>
        <p:spPr>
          <a:xfrm>
            <a:off x="5696074" y="2504000"/>
            <a:ext cx="16510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Tomado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3083B4-5B9B-443F-AEB6-122511B5F1EA}"/>
              </a:ext>
            </a:extLst>
          </p:cNvPr>
          <p:cNvSpPr txBox="1"/>
          <p:nvPr/>
        </p:nvSpPr>
        <p:spPr>
          <a:xfrm>
            <a:off x="7425853" y="3736695"/>
            <a:ext cx="4521379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PT" sz="1600">
                <a:solidFill>
                  <a:srgbClr val="1C1C1C"/>
                </a:solidFill>
                <a:latin typeface="72"/>
                <a:cs typeface="72" panose="020B0503030000000003" pitchFamily="34" charset="0"/>
              </a:rPr>
              <a:t>Documento que titula o contrato de seguro, constituído pelas respetivas Condições Gerais, Especiais e Particulares ou Certificado Individual de Seguro, a Proposta de Seguro ou Boletim de Adesão</a:t>
            </a:r>
            <a:endParaRPr lang="pt-PT">
              <a:latin typeface="72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BFB346B-2D40-4D31-80FD-44A86ECED424}"/>
              </a:ext>
            </a:extLst>
          </p:cNvPr>
          <p:cNvSpPr txBox="1"/>
          <p:nvPr/>
        </p:nvSpPr>
        <p:spPr>
          <a:xfrm>
            <a:off x="5696074" y="3745556"/>
            <a:ext cx="16510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Apólic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214BFA-8E4F-489D-857B-10463F9D40D6}"/>
              </a:ext>
            </a:extLst>
          </p:cNvPr>
          <p:cNvSpPr txBox="1">
            <a:spLocks/>
          </p:cNvSpPr>
          <p:nvPr/>
        </p:nvSpPr>
        <p:spPr>
          <a:xfrm>
            <a:off x="404712" y="516472"/>
            <a:ext cx="5651716" cy="1285695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Conceitos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586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  <p:bldP spid="1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1326B81-6A47-4375-9C8F-1247F9BCD7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1508" y="1865182"/>
            <a:ext cx="6599554" cy="34621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8620C1C-C727-49BF-BEC7-2409F0E8A9C9}"/>
              </a:ext>
            </a:extLst>
          </p:cNvPr>
          <p:cNvSpPr txBox="1">
            <a:spLocks/>
          </p:cNvSpPr>
          <p:nvPr/>
        </p:nvSpPr>
        <p:spPr>
          <a:xfrm>
            <a:off x="404712" y="516472"/>
            <a:ext cx="5651716" cy="1285695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Segmentos de Cliente - Definição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107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8620C1C-C727-49BF-BEC7-2409F0E8A9C9}"/>
              </a:ext>
            </a:extLst>
          </p:cNvPr>
          <p:cNvSpPr txBox="1">
            <a:spLocks/>
          </p:cNvSpPr>
          <p:nvPr/>
        </p:nvSpPr>
        <p:spPr>
          <a:xfrm>
            <a:off x="404712" y="516472"/>
            <a:ext cx="5651716" cy="1285695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 dirty="0"/>
              <a:t>Estado Civil- Definição</a:t>
            </a:r>
            <a:endParaRPr lang="pt-PT" sz="20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DA18FB-008A-4C33-82F8-CD90826B22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40557" y="2147887"/>
            <a:ext cx="336232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460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8620C1C-C727-49BF-BEC7-2409F0E8A9C9}"/>
              </a:ext>
            </a:extLst>
          </p:cNvPr>
          <p:cNvSpPr txBox="1">
            <a:spLocks/>
          </p:cNvSpPr>
          <p:nvPr/>
        </p:nvSpPr>
        <p:spPr>
          <a:xfrm>
            <a:off x="404712" y="516472"/>
            <a:ext cx="5651716" cy="1285695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 dirty="0"/>
              <a:t>Famílias de produtos/Cabaz - Definição</a:t>
            </a:r>
            <a:endParaRPr lang="pt-PT" sz="20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860ECC-94F5-40F0-A32C-9E8D4E4719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32452" y="1027416"/>
            <a:ext cx="4531546" cy="516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8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26B157-DFD0-4B2A-A22F-D3970A8F9DD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E2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ED1D4303-56CA-4D04-9DD7-3FC941E23CD3}"/>
              </a:ext>
            </a:extLst>
          </p:cNvPr>
          <p:cNvGrpSpPr/>
          <p:nvPr/>
        </p:nvGrpSpPr>
        <p:grpSpPr>
          <a:xfrm>
            <a:off x="666817" y="-420804"/>
            <a:ext cx="6126798" cy="7902781"/>
            <a:chOff x="666904" y="-421305"/>
            <a:chExt cx="6127595" cy="7903805"/>
          </a:xfrm>
        </p:grpSpPr>
        <p:pic>
          <p:nvPicPr>
            <p:cNvPr id="6" name="Gráfico 2">
              <a:extLst>
                <a:ext uri="{FF2B5EF4-FFF2-40B4-BE49-F238E27FC236}">
                  <a16:creationId xmlns:a16="http://schemas.microsoft.com/office/drawing/2014/main" id="{FA258FAF-A429-492D-A9A0-B1F677B277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98617" y="3459405"/>
              <a:ext cx="3697283" cy="671641"/>
            </a:xfrm>
            <a:prstGeom prst="rect">
              <a:avLst/>
            </a:prstGeom>
          </p:spPr>
        </p:pic>
        <p:sp>
          <p:nvSpPr>
            <p:cNvPr id="7" name="Forma Livre: Forma 3">
              <a:extLst>
                <a:ext uri="{FF2B5EF4-FFF2-40B4-BE49-F238E27FC236}">
                  <a16:creationId xmlns:a16="http://schemas.microsoft.com/office/drawing/2014/main" id="{EBA5E1C9-7989-4D25-B0CF-CC5D693E0BC1}"/>
                </a:ext>
              </a:extLst>
            </p:cNvPr>
            <p:cNvSpPr/>
            <p:nvPr/>
          </p:nvSpPr>
          <p:spPr>
            <a:xfrm>
              <a:off x="666904" y="-421305"/>
              <a:ext cx="6127596" cy="7903810"/>
            </a:xfrm>
            <a:custGeom>
              <a:avLst/>
              <a:gdLst>
                <a:gd name="connsiteX0" fmla="*/ 1315720 w 4909820"/>
                <a:gd name="connsiteY0" fmla="*/ 0 h 6333035"/>
                <a:gd name="connsiteX1" fmla="*/ 1988820 w 4909820"/>
                <a:gd name="connsiteY1" fmla="*/ 1130300 h 6333035"/>
                <a:gd name="connsiteX2" fmla="*/ 3112770 w 4909820"/>
                <a:gd name="connsiteY2" fmla="*/ 1619250 h 6333035"/>
                <a:gd name="connsiteX3" fmla="*/ 3265170 w 4909820"/>
                <a:gd name="connsiteY3" fmla="*/ 2216150 h 6333035"/>
                <a:gd name="connsiteX4" fmla="*/ 4909820 w 4909820"/>
                <a:gd name="connsiteY4" fmla="*/ 3194050 h 6333035"/>
                <a:gd name="connsiteX5" fmla="*/ 4321272 w 4909820"/>
                <a:gd name="connsiteY5" fmla="*/ 4371146 h 6333035"/>
                <a:gd name="connsiteX6" fmla="*/ 4325620 w 4909820"/>
                <a:gd name="connsiteY6" fmla="*/ 4374356 h 6333035"/>
                <a:gd name="connsiteX7" fmla="*/ 3652520 w 4909820"/>
                <a:gd name="connsiteY7" fmla="*/ 4672806 h 6333035"/>
                <a:gd name="connsiteX8" fmla="*/ 1315720 w 4909820"/>
                <a:gd name="connsiteY8" fmla="*/ 4666456 h 6333035"/>
                <a:gd name="connsiteX9" fmla="*/ 0 w 4909820"/>
                <a:gd name="connsiteY9" fmla="*/ 6333035 h 6333035"/>
                <a:gd name="connsiteX10" fmla="*/ 0 w 4909820"/>
                <a:gd name="connsiteY10" fmla="*/ 1321956 h 6333035"/>
                <a:gd name="connsiteX11" fmla="*/ 1315720 w 4909820"/>
                <a:gd name="connsiteY11" fmla="*/ 0 h 6333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9820" h="6333035">
                  <a:moveTo>
                    <a:pt x="1315720" y="0"/>
                  </a:moveTo>
                  <a:lnTo>
                    <a:pt x="1988820" y="1130300"/>
                  </a:lnTo>
                  <a:lnTo>
                    <a:pt x="3112770" y="1619250"/>
                  </a:lnTo>
                  <a:lnTo>
                    <a:pt x="3265170" y="2216150"/>
                  </a:lnTo>
                  <a:lnTo>
                    <a:pt x="4909820" y="3194050"/>
                  </a:lnTo>
                  <a:lnTo>
                    <a:pt x="4321272" y="4371146"/>
                  </a:lnTo>
                  <a:lnTo>
                    <a:pt x="4325620" y="4374356"/>
                  </a:lnTo>
                  <a:lnTo>
                    <a:pt x="3652520" y="4672806"/>
                  </a:lnTo>
                  <a:lnTo>
                    <a:pt x="1315720" y="4666456"/>
                  </a:lnTo>
                  <a:lnTo>
                    <a:pt x="0" y="6333035"/>
                  </a:lnTo>
                  <a:lnTo>
                    <a:pt x="0" y="1321956"/>
                  </a:lnTo>
                  <a:lnTo>
                    <a:pt x="1315720" y="0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54"/>
              <a:endParaRPr lang="pt-PT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7539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4B4B88DD-5669-4703-8F5D-9D1A7244E9A3}"/>
              </a:ext>
            </a:extLst>
          </p:cNvPr>
          <p:cNvSpPr txBox="1">
            <a:spLocks/>
          </p:cNvSpPr>
          <p:nvPr/>
        </p:nvSpPr>
        <p:spPr>
          <a:xfrm>
            <a:off x="1665342" y="1324753"/>
            <a:ext cx="2244804" cy="428152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A nossa História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F75FE0-D9BD-4108-9BD2-ECCA7D9D2C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947"/>
          <a:stretch/>
        </p:blipFill>
        <p:spPr>
          <a:xfrm>
            <a:off x="5302500" y="0"/>
            <a:ext cx="68895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5F557EE-851F-4DE5-B238-7C022DC0BA73}"/>
              </a:ext>
            </a:extLst>
          </p:cNvPr>
          <p:cNvSpPr txBox="1">
            <a:spLocks/>
          </p:cNvSpPr>
          <p:nvPr/>
        </p:nvSpPr>
        <p:spPr>
          <a:xfrm>
            <a:off x="1665342" y="2961628"/>
            <a:ext cx="3472541" cy="428152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2400">
                <a:solidFill>
                  <a:schemeClr val="bg1">
                    <a:lumMod val="50000"/>
                  </a:schemeClr>
                </a:solidFill>
              </a:rPr>
              <a:t>A Fidelidade é a seguradora líder </a:t>
            </a:r>
            <a:br>
              <a:rPr lang="pt-PT" sz="2400">
                <a:solidFill>
                  <a:schemeClr val="bg1">
                    <a:lumMod val="50000"/>
                  </a:schemeClr>
                </a:solidFill>
              </a:rPr>
            </a:br>
            <a:r>
              <a:rPr lang="pt-PT" sz="2400">
                <a:solidFill>
                  <a:schemeClr val="bg1">
                    <a:lumMod val="50000"/>
                  </a:schemeClr>
                </a:solidFill>
              </a:rPr>
              <a:t>em Portugal,</a:t>
            </a:r>
            <a:br>
              <a:rPr lang="pt-PT" sz="2400">
                <a:solidFill>
                  <a:schemeClr val="bg1">
                    <a:lumMod val="50000"/>
                  </a:schemeClr>
                </a:solidFill>
              </a:rPr>
            </a:br>
            <a:r>
              <a:rPr lang="pt-PT" sz="2400">
                <a:solidFill>
                  <a:schemeClr val="bg1">
                    <a:lumMod val="50000"/>
                  </a:schemeClr>
                </a:solidFill>
              </a:rPr>
              <a:t>com mais de 200 anos </a:t>
            </a:r>
          </a:p>
          <a:p>
            <a:r>
              <a:rPr lang="pt-PT" sz="2400">
                <a:solidFill>
                  <a:schemeClr val="bg1">
                    <a:lumMod val="50000"/>
                  </a:schemeClr>
                </a:solidFill>
              </a:rPr>
              <a:t>de história</a:t>
            </a:r>
          </a:p>
        </p:txBody>
      </p:sp>
    </p:spTree>
    <p:extLst>
      <p:ext uri="{BB962C8B-B14F-4D97-AF65-F5344CB8AC3E}">
        <p14:creationId xmlns:p14="http://schemas.microsoft.com/office/powerpoint/2010/main" val="359200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4110742-3031-48BF-8742-867EFA56AB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0535" y="1349524"/>
            <a:ext cx="6233530" cy="3693543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4D85EED-B7F1-4C63-AB5E-D7D42FDA4146}"/>
              </a:ext>
            </a:extLst>
          </p:cNvPr>
          <p:cNvSpPr txBox="1">
            <a:spLocks/>
          </p:cNvSpPr>
          <p:nvPr/>
        </p:nvSpPr>
        <p:spPr>
          <a:xfrm>
            <a:off x="1665341" y="1324753"/>
            <a:ext cx="3167915" cy="428152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Presença</a:t>
            </a:r>
          </a:p>
          <a:p>
            <a:r>
              <a:rPr lang="pt-PT" sz="3200"/>
              <a:t>Internacional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1834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0D1FBA1-DA6E-4176-9561-10098EB6CAE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885"/>
          <a:stretch/>
        </p:blipFill>
        <p:spPr>
          <a:xfrm>
            <a:off x="3758833" y="1113182"/>
            <a:ext cx="8425402" cy="3480759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4B4B88DD-5669-4703-8F5D-9D1A7244E9A3}"/>
              </a:ext>
            </a:extLst>
          </p:cNvPr>
          <p:cNvSpPr txBox="1">
            <a:spLocks/>
          </p:cNvSpPr>
          <p:nvPr/>
        </p:nvSpPr>
        <p:spPr>
          <a:xfrm>
            <a:off x="1665342" y="1324753"/>
            <a:ext cx="2244804" cy="120743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 dirty="0"/>
              <a:t>Seguros e Serviço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585D157-22E5-43CA-967B-987D793A5CB8}"/>
              </a:ext>
            </a:extLst>
          </p:cNvPr>
          <p:cNvGrpSpPr/>
          <p:nvPr/>
        </p:nvGrpSpPr>
        <p:grpSpPr>
          <a:xfrm>
            <a:off x="381699" y="2993316"/>
            <a:ext cx="1905511" cy="3039393"/>
            <a:chOff x="381699" y="2993316"/>
            <a:chExt cx="1905511" cy="3039393"/>
          </a:xfrm>
        </p:grpSpPr>
        <p:pic>
          <p:nvPicPr>
            <p:cNvPr id="18" name="Picture 17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9F436DE1-B6DD-4C52-8621-E39901AEAB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35036"/>
            <a:stretch/>
          </p:blipFill>
          <p:spPr>
            <a:xfrm>
              <a:off x="381699" y="2993316"/>
              <a:ext cx="1905511" cy="2406023"/>
            </a:xfrm>
            <a:prstGeom prst="rect">
              <a:avLst/>
            </a:prstGeom>
          </p:spPr>
        </p:pic>
        <p:sp>
          <p:nvSpPr>
            <p:cNvPr id="51" name="Title 1">
              <a:extLst>
                <a:ext uri="{FF2B5EF4-FFF2-40B4-BE49-F238E27FC236}">
                  <a16:creationId xmlns:a16="http://schemas.microsoft.com/office/drawing/2014/main" id="{3BFDD084-5231-4611-BE8D-205CA145687F}"/>
                </a:ext>
              </a:extLst>
            </p:cNvPr>
            <p:cNvSpPr txBox="1">
              <a:spLocks/>
            </p:cNvSpPr>
            <p:nvPr/>
          </p:nvSpPr>
          <p:spPr>
            <a:xfrm>
              <a:off x="495081" y="5590142"/>
              <a:ext cx="1716883" cy="442567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pt-PT" sz="1400"/>
                <a:t>Drive</a:t>
              </a:r>
              <a:endParaRPr lang="pt-PT" sz="1050" b="1">
                <a:solidFill>
                  <a:schemeClr val="bg1">
                    <a:lumMod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6CB6D42-8021-48EB-BCE6-EBF701C7EDD4}"/>
              </a:ext>
            </a:extLst>
          </p:cNvPr>
          <p:cNvGrpSpPr/>
          <p:nvPr/>
        </p:nvGrpSpPr>
        <p:grpSpPr>
          <a:xfrm>
            <a:off x="2831425" y="3094465"/>
            <a:ext cx="1747323" cy="3703113"/>
            <a:chOff x="2831425" y="3094465"/>
            <a:chExt cx="1747323" cy="3703113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577BD2C2-9AC1-40AC-95B6-6EAA1BB884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9408"/>
            <a:stretch/>
          </p:blipFill>
          <p:spPr>
            <a:xfrm>
              <a:off x="2879284" y="3094465"/>
              <a:ext cx="1699464" cy="2338624"/>
            </a:xfrm>
            <a:prstGeom prst="rect">
              <a:avLst/>
            </a:prstGeom>
          </p:spPr>
        </p:pic>
        <p:sp>
          <p:nvSpPr>
            <p:cNvPr id="52" name="Title 1">
              <a:extLst>
                <a:ext uri="{FF2B5EF4-FFF2-40B4-BE49-F238E27FC236}">
                  <a16:creationId xmlns:a16="http://schemas.microsoft.com/office/drawing/2014/main" id="{104BD4C7-9EE2-4ADE-B38F-C3EEA631B177}"/>
                </a:ext>
              </a:extLst>
            </p:cNvPr>
            <p:cNvSpPr txBox="1">
              <a:spLocks/>
            </p:cNvSpPr>
            <p:nvPr/>
          </p:nvSpPr>
          <p:spPr>
            <a:xfrm>
              <a:off x="2831425" y="5590142"/>
              <a:ext cx="1716883" cy="1207436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pt-PT" sz="1400"/>
                <a:t>Vistorias Digitais</a:t>
              </a:r>
              <a:endParaRPr lang="pt-PT" sz="1050" b="1">
                <a:solidFill>
                  <a:schemeClr val="bg1">
                    <a:lumMod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E367DD6-C9FF-4300-95C9-366202A5A3D5}"/>
              </a:ext>
            </a:extLst>
          </p:cNvPr>
          <p:cNvGrpSpPr/>
          <p:nvPr/>
        </p:nvGrpSpPr>
        <p:grpSpPr>
          <a:xfrm>
            <a:off x="7697763" y="2918462"/>
            <a:ext cx="1817477" cy="3879116"/>
            <a:chOff x="7697763" y="2918462"/>
            <a:chExt cx="1817477" cy="3879116"/>
          </a:xfrm>
        </p:grpSpPr>
        <p:pic>
          <p:nvPicPr>
            <p:cNvPr id="42" name="Picture 41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ED3B2148-BA53-4D36-915A-D070E39228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28" r="47686" b="34359"/>
            <a:stretch/>
          </p:blipFill>
          <p:spPr>
            <a:xfrm>
              <a:off x="7697763" y="2918462"/>
              <a:ext cx="1817477" cy="2514626"/>
            </a:xfrm>
            <a:prstGeom prst="rect">
              <a:avLst/>
            </a:prstGeom>
          </p:spPr>
        </p:pic>
        <p:sp>
          <p:nvSpPr>
            <p:cNvPr id="53" name="Title 1">
              <a:extLst>
                <a:ext uri="{FF2B5EF4-FFF2-40B4-BE49-F238E27FC236}">
                  <a16:creationId xmlns:a16="http://schemas.microsoft.com/office/drawing/2014/main" id="{5CB50D9B-47FF-4AF2-9307-37A0480A5458}"/>
                </a:ext>
              </a:extLst>
            </p:cNvPr>
            <p:cNvSpPr txBox="1">
              <a:spLocks/>
            </p:cNvSpPr>
            <p:nvPr/>
          </p:nvSpPr>
          <p:spPr>
            <a:xfrm>
              <a:off x="7748060" y="5590142"/>
              <a:ext cx="1716883" cy="1207436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pt-PT" sz="1400" err="1"/>
                <a:t>Vitality</a:t>
              </a:r>
              <a:endParaRPr lang="pt-PT" sz="1050" b="1">
                <a:solidFill>
                  <a:schemeClr val="bg1">
                    <a:lumMod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6F78573-D276-405C-9723-5B86C00B68BE}"/>
              </a:ext>
            </a:extLst>
          </p:cNvPr>
          <p:cNvGrpSpPr/>
          <p:nvPr/>
        </p:nvGrpSpPr>
        <p:grpSpPr>
          <a:xfrm>
            <a:off x="10134702" y="2993317"/>
            <a:ext cx="1808043" cy="3804261"/>
            <a:chOff x="10134702" y="2993317"/>
            <a:chExt cx="1808043" cy="3804261"/>
          </a:xfrm>
        </p:grpSpPr>
        <p:pic>
          <p:nvPicPr>
            <p:cNvPr id="43" name="Picture 42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219BA0E4-E650-4625-A6B1-CF4758BA47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11" t="5503" r="17058" b="19926"/>
            <a:stretch/>
          </p:blipFill>
          <p:spPr>
            <a:xfrm>
              <a:off x="10134702" y="2993317"/>
              <a:ext cx="1808043" cy="2439771"/>
            </a:xfrm>
            <a:prstGeom prst="rect">
              <a:avLst/>
            </a:prstGeom>
          </p:spPr>
        </p:pic>
        <p:sp>
          <p:nvSpPr>
            <p:cNvPr id="54" name="Title 1">
              <a:extLst>
                <a:ext uri="{FF2B5EF4-FFF2-40B4-BE49-F238E27FC236}">
                  <a16:creationId xmlns:a16="http://schemas.microsoft.com/office/drawing/2014/main" id="{8970DCE8-A995-4983-9E54-4EF02D459F6C}"/>
                </a:ext>
              </a:extLst>
            </p:cNvPr>
            <p:cNvSpPr txBox="1">
              <a:spLocks/>
            </p:cNvSpPr>
            <p:nvPr/>
          </p:nvSpPr>
          <p:spPr>
            <a:xfrm>
              <a:off x="10225862" y="5590142"/>
              <a:ext cx="1716883" cy="1207436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pt-PT" sz="1400" err="1"/>
                <a:t>My</a:t>
              </a:r>
              <a:r>
                <a:rPr lang="pt-PT" sz="1400"/>
                <a:t> Fidelidade</a:t>
              </a:r>
              <a:endParaRPr lang="pt-PT" sz="1050" b="1">
                <a:solidFill>
                  <a:schemeClr val="bg1">
                    <a:lumMod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6E4938A-431E-4286-A615-0837107D0462}"/>
              </a:ext>
            </a:extLst>
          </p:cNvPr>
          <p:cNvGrpSpPr/>
          <p:nvPr/>
        </p:nvGrpSpPr>
        <p:grpSpPr>
          <a:xfrm>
            <a:off x="5198209" y="2931151"/>
            <a:ext cx="1880093" cy="3866427"/>
            <a:chOff x="5198209" y="2931151"/>
            <a:chExt cx="1880093" cy="3866427"/>
          </a:xfrm>
        </p:grpSpPr>
        <p:pic>
          <p:nvPicPr>
            <p:cNvPr id="46" name="Picture 45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8B1E7295-96D0-4E90-915D-B8D1C0F6E4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7728"/>
            <a:stretch/>
          </p:blipFill>
          <p:spPr>
            <a:xfrm>
              <a:off x="5198209" y="2931151"/>
              <a:ext cx="1880093" cy="2708986"/>
            </a:xfrm>
            <a:prstGeom prst="rect">
              <a:avLst/>
            </a:prstGeom>
          </p:spPr>
        </p:pic>
        <p:sp>
          <p:nvSpPr>
            <p:cNvPr id="55" name="Title 1">
              <a:extLst>
                <a:ext uri="{FF2B5EF4-FFF2-40B4-BE49-F238E27FC236}">
                  <a16:creationId xmlns:a16="http://schemas.microsoft.com/office/drawing/2014/main" id="{CB055D02-D841-486E-BE82-A4665C8684C1}"/>
                </a:ext>
              </a:extLst>
            </p:cNvPr>
            <p:cNvSpPr txBox="1">
              <a:spLocks/>
            </p:cNvSpPr>
            <p:nvPr/>
          </p:nvSpPr>
          <p:spPr>
            <a:xfrm>
              <a:off x="5276383" y="5590142"/>
              <a:ext cx="1716883" cy="1207436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pt-PT" sz="1400" err="1"/>
                <a:t>My</a:t>
              </a:r>
              <a:r>
                <a:rPr lang="pt-PT" sz="1400"/>
                <a:t> </a:t>
              </a:r>
              <a:r>
                <a:rPr lang="pt-PT" sz="1400" err="1"/>
                <a:t>Savings</a:t>
              </a:r>
              <a:endParaRPr lang="pt-PT" sz="1050" b="1">
                <a:solidFill>
                  <a:schemeClr val="bg1">
                    <a:lumMod val="50000"/>
                  </a:schemeClr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02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70D9E3-D6EA-4A07-85D2-1A21676344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E2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0" name="CaixaDeTexto 35">
            <a:extLst>
              <a:ext uri="{FF2B5EF4-FFF2-40B4-BE49-F238E27FC236}">
                <a16:creationId xmlns:a16="http://schemas.microsoft.com/office/drawing/2014/main" id="{61CA9120-2318-48F5-8ABC-BF12B14DAC11}"/>
              </a:ext>
            </a:extLst>
          </p:cNvPr>
          <p:cNvSpPr txBox="1"/>
          <p:nvPr/>
        </p:nvSpPr>
        <p:spPr>
          <a:xfrm>
            <a:off x="1256272" y="765194"/>
            <a:ext cx="4011468" cy="3083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5400" b="1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centro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5400" b="1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de advanced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5400" b="1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analytics</a:t>
            </a:r>
            <a:endParaRPr kumimoji="0" lang="pt-BR" sz="5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41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a Livre: Forma 3">
            <a:extLst>
              <a:ext uri="{FF2B5EF4-FFF2-40B4-BE49-F238E27FC236}">
                <a16:creationId xmlns:a16="http://schemas.microsoft.com/office/drawing/2014/main" id="{64D68A02-764B-403F-8C79-E599F6DBACD0}"/>
              </a:ext>
            </a:extLst>
          </p:cNvPr>
          <p:cNvSpPr/>
          <p:nvPr/>
        </p:nvSpPr>
        <p:spPr>
          <a:xfrm>
            <a:off x="0" y="115456"/>
            <a:ext cx="4882018" cy="6297174"/>
          </a:xfrm>
          <a:custGeom>
            <a:avLst/>
            <a:gdLst>
              <a:gd name="connsiteX0" fmla="*/ 1315720 w 4909820"/>
              <a:gd name="connsiteY0" fmla="*/ 0 h 6333035"/>
              <a:gd name="connsiteX1" fmla="*/ 1988820 w 4909820"/>
              <a:gd name="connsiteY1" fmla="*/ 1130300 h 6333035"/>
              <a:gd name="connsiteX2" fmla="*/ 3112770 w 4909820"/>
              <a:gd name="connsiteY2" fmla="*/ 1619250 h 6333035"/>
              <a:gd name="connsiteX3" fmla="*/ 3265170 w 4909820"/>
              <a:gd name="connsiteY3" fmla="*/ 2216150 h 6333035"/>
              <a:gd name="connsiteX4" fmla="*/ 4909820 w 4909820"/>
              <a:gd name="connsiteY4" fmla="*/ 3194050 h 6333035"/>
              <a:gd name="connsiteX5" fmla="*/ 4321272 w 4909820"/>
              <a:gd name="connsiteY5" fmla="*/ 4371146 h 6333035"/>
              <a:gd name="connsiteX6" fmla="*/ 4325620 w 4909820"/>
              <a:gd name="connsiteY6" fmla="*/ 4374356 h 6333035"/>
              <a:gd name="connsiteX7" fmla="*/ 3652520 w 4909820"/>
              <a:gd name="connsiteY7" fmla="*/ 4672806 h 6333035"/>
              <a:gd name="connsiteX8" fmla="*/ 1315720 w 4909820"/>
              <a:gd name="connsiteY8" fmla="*/ 4666456 h 6333035"/>
              <a:gd name="connsiteX9" fmla="*/ 0 w 4909820"/>
              <a:gd name="connsiteY9" fmla="*/ 6333035 h 6333035"/>
              <a:gd name="connsiteX10" fmla="*/ 0 w 4909820"/>
              <a:gd name="connsiteY10" fmla="*/ 1321956 h 6333035"/>
              <a:gd name="connsiteX11" fmla="*/ 1315720 w 4909820"/>
              <a:gd name="connsiteY11" fmla="*/ 0 h 6333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09820" h="6333035">
                <a:moveTo>
                  <a:pt x="1315720" y="0"/>
                </a:moveTo>
                <a:lnTo>
                  <a:pt x="1988820" y="1130300"/>
                </a:lnTo>
                <a:lnTo>
                  <a:pt x="3112770" y="1619250"/>
                </a:lnTo>
                <a:lnTo>
                  <a:pt x="3265170" y="2216150"/>
                </a:lnTo>
                <a:lnTo>
                  <a:pt x="4909820" y="3194050"/>
                </a:lnTo>
                <a:lnTo>
                  <a:pt x="4321272" y="4371146"/>
                </a:lnTo>
                <a:lnTo>
                  <a:pt x="4325620" y="4374356"/>
                </a:lnTo>
                <a:lnTo>
                  <a:pt x="3652520" y="4672806"/>
                </a:lnTo>
                <a:lnTo>
                  <a:pt x="1315720" y="4666456"/>
                </a:lnTo>
                <a:lnTo>
                  <a:pt x="0" y="6333035"/>
                </a:lnTo>
                <a:lnTo>
                  <a:pt x="0" y="1321956"/>
                </a:lnTo>
                <a:lnTo>
                  <a:pt x="1315720" y="0"/>
                </a:lnTo>
                <a:close/>
              </a:path>
            </a:pathLst>
          </a:custGeom>
          <a:gradFill flip="none" rotWithShape="1">
            <a:gsLst>
              <a:gs pos="0">
                <a:srgbClr val="95171A"/>
              </a:gs>
              <a:gs pos="100000">
                <a:srgbClr val="EE242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E23501C3-7CCB-4A51-B181-1F002A941604}"/>
              </a:ext>
            </a:extLst>
          </p:cNvPr>
          <p:cNvSpPr txBox="1"/>
          <p:nvPr/>
        </p:nvSpPr>
        <p:spPr>
          <a:xfrm>
            <a:off x="1542196" y="550997"/>
            <a:ext cx="10673729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Center for Advanced Analytics </a:t>
            </a:r>
            <a:endParaRPr kumimoji="0" lang="pt-PT" sz="4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35686C0-4EEA-4EC3-8B35-EE891B40494E}"/>
              </a:ext>
            </a:extLst>
          </p:cNvPr>
          <p:cNvGrpSpPr/>
          <p:nvPr/>
        </p:nvGrpSpPr>
        <p:grpSpPr>
          <a:xfrm>
            <a:off x="3818588" y="5205419"/>
            <a:ext cx="5259766" cy="773784"/>
            <a:chOff x="4351925" y="4864519"/>
            <a:chExt cx="5259766" cy="77378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40E6B7E5-AD38-478F-8928-7E23F357514F}"/>
                </a:ext>
              </a:extLst>
            </p:cNvPr>
            <p:cNvSpPr/>
            <p:nvPr/>
          </p:nvSpPr>
          <p:spPr>
            <a:xfrm>
              <a:off x="4351925" y="4864519"/>
              <a:ext cx="744149" cy="7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52400" dir="144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0" name="Graphic 39" descr="Rocket outline">
              <a:extLst>
                <a:ext uri="{FF2B5EF4-FFF2-40B4-BE49-F238E27FC236}">
                  <a16:creationId xmlns:a16="http://schemas.microsoft.com/office/drawing/2014/main" id="{4BC261F1-FC6D-445A-8A45-5DCCC706F2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4404106" y="4967502"/>
              <a:ext cx="605918" cy="605918"/>
            </a:xfrm>
            <a:prstGeom prst="rect">
              <a:avLst/>
            </a:prstGeom>
            <a:effectLst/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93DD3A7-0220-4C44-9E7D-046AC8F0DFF2}"/>
                </a:ext>
              </a:extLst>
            </p:cNvPr>
            <p:cNvSpPr/>
            <p:nvPr/>
          </p:nvSpPr>
          <p:spPr>
            <a:xfrm>
              <a:off x="4794574" y="4868862"/>
              <a:ext cx="202223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PT" sz="1200" spc="300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unded</a:t>
              </a:r>
              <a:r>
                <a:rPr lang="pt-PT" sz="1200" spc="3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</a:t>
              </a:r>
              <a:r>
                <a:rPr kumimoji="0" lang="pt-PT" sz="1200" i="0" u="none" strike="noStrike" kern="1200" cap="none" spc="30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pt-PT" sz="32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kumimoji="0" lang="pt-PT" sz="20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6946C5C-545E-4461-AC7C-E3988E6DBAF3}"/>
                </a:ext>
              </a:extLst>
            </p:cNvPr>
            <p:cNvSpPr/>
            <p:nvPr/>
          </p:nvSpPr>
          <p:spPr>
            <a:xfrm>
              <a:off x="7207105" y="4864519"/>
              <a:ext cx="744149" cy="7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52400" dir="144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CCE75FF-695C-4EC3-B8E7-8466707B0844}"/>
                </a:ext>
              </a:extLst>
            </p:cNvPr>
            <p:cNvSpPr/>
            <p:nvPr/>
          </p:nvSpPr>
          <p:spPr>
            <a:xfrm>
              <a:off x="8032104" y="4868862"/>
              <a:ext cx="1579587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PT" sz="1200" spc="3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experts </a:t>
              </a:r>
              <a:r>
                <a:rPr kumimoji="0" lang="pt-PT" sz="32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0</a:t>
              </a:r>
              <a:endParaRPr kumimoji="0" lang="pt-PT" sz="20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51" name="Agrupar 916">
              <a:extLst>
                <a:ext uri="{FF2B5EF4-FFF2-40B4-BE49-F238E27FC236}">
                  <a16:creationId xmlns:a16="http://schemas.microsoft.com/office/drawing/2014/main" id="{B64487EE-A638-49A9-9172-3E82D0FB6EB6}"/>
                </a:ext>
              </a:extLst>
            </p:cNvPr>
            <p:cNvGrpSpPr/>
            <p:nvPr/>
          </p:nvGrpSpPr>
          <p:grpSpPr>
            <a:xfrm>
              <a:off x="7371539" y="5032178"/>
              <a:ext cx="415280" cy="408831"/>
              <a:chOff x="4679564" y="4651461"/>
              <a:chExt cx="511175" cy="503237"/>
            </a:xfrm>
          </p:grpSpPr>
          <p:sp>
            <p:nvSpPr>
              <p:cNvPr id="52" name="Line 260">
                <a:extLst>
                  <a:ext uri="{FF2B5EF4-FFF2-40B4-BE49-F238E27FC236}">
                    <a16:creationId xmlns:a16="http://schemas.microsoft.com/office/drawing/2014/main" id="{69DBE574-4C31-489B-BD2F-995E71A86A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79564" y="4807036"/>
                <a:ext cx="511175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53" name="Freeform 261">
                <a:extLst>
                  <a:ext uri="{FF2B5EF4-FFF2-40B4-BE49-F238E27FC236}">
                    <a16:creationId xmlns:a16="http://schemas.microsoft.com/office/drawing/2014/main" id="{D33AB94B-EBD0-4C32-A1B3-45CE51D89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764" y="4729249"/>
                <a:ext cx="65088" cy="25400"/>
              </a:xfrm>
              <a:custGeom>
                <a:avLst/>
                <a:gdLst>
                  <a:gd name="T0" fmla="*/ 0 w 41"/>
                  <a:gd name="T1" fmla="*/ 0 h 16"/>
                  <a:gd name="T2" fmla="*/ 0 w 41"/>
                  <a:gd name="T3" fmla="*/ 16 h 16"/>
                  <a:gd name="T4" fmla="*/ 41 w 41"/>
                  <a:gd name="T5" fmla="*/ 16 h 16"/>
                  <a:gd name="T6" fmla="*/ 41 w 41"/>
                  <a:gd name="T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16">
                    <a:moveTo>
                      <a:pt x="0" y="0"/>
                    </a:moveTo>
                    <a:lnTo>
                      <a:pt x="0" y="16"/>
                    </a:lnTo>
                    <a:lnTo>
                      <a:pt x="41" y="16"/>
                    </a:lnTo>
                    <a:lnTo>
                      <a:pt x="41" y="0"/>
                    </a:lnTo>
                  </a:path>
                </a:pathLst>
              </a:cu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54" name="Freeform 262">
                <a:extLst>
                  <a:ext uri="{FF2B5EF4-FFF2-40B4-BE49-F238E27FC236}">
                    <a16:creationId xmlns:a16="http://schemas.microsoft.com/office/drawing/2014/main" id="{E7127095-0025-4FB8-9857-C266387CE8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9452" y="4729249"/>
                <a:ext cx="65088" cy="25400"/>
              </a:xfrm>
              <a:custGeom>
                <a:avLst/>
                <a:gdLst>
                  <a:gd name="T0" fmla="*/ 0 w 41"/>
                  <a:gd name="T1" fmla="*/ 0 h 16"/>
                  <a:gd name="T2" fmla="*/ 0 w 41"/>
                  <a:gd name="T3" fmla="*/ 16 h 16"/>
                  <a:gd name="T4" fmla="*/ 41 w 41"/>
                  <a:gd name="T5" fmla="*/ 16 h 16"/>
                  <a:gd name="T6" fmla="*/ 41 w 41"/>
                  <a:gd name="T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16">
                    <a:moveTo>
                      <a:pt x="0" y="0"/>
                    </a:moveTo>
                    <a:lnTo>
                      <a:pt x="0" y="16"/>
                    </a:lnTo>
                    <a:lnTo>
                      <a:pt x="41" y="16"/>
                    </a:lnTo>
                    <a:lnTo>
                      <a:pt x="41" y="0"/>
                    </a:lnTo>
                  </a:path>
                </a:pathLst>
              </a:cu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56" name="Freeform 263">
                <a:extLst>
                  <a:ext uri="{FF2B5EF4-FFF2-40B4-BE49-F238E27FC236}">
                    <a16:creationId xmlns:a16="http://schemas.microsoft.com/office/drawing/2014/main" id="{4337F7F6-BAE7-4787-8777-21AF10D83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564" y="4651461"/>
                <a:ext cx="511175" cy="503237"/>
              </a:xfrm>
              <a:custGeom>
                <a:avLst/>
                <a:gdLst>
                  <a:gd name="T0" fmla="*/ 24 w 160"/>
                  <a:gd name="T1" fmla="*/ 16 h 156"/>
                  <a:gd name="T2" fmla="*/ 8 w 160"/>
                  <a:gd name="T3" fmla="*/ 16 h 156"/>
                  <a:gd name="T4" fmla="*/ 0 w 160"/>
                  <a:gd name="T5" fmla="*/ 24 h 156"/>
                  <a:gd name="T6" fmla="*/ 0 w 160"/>
                  <a:gd name="T7" fmla="*/ 148 h 156"/>
                  <a:gd name="T8" fmla="*/ 8 w 160"/>
                  <a:gd name="T9" fmla="*/ 156 h 156"/>
                  <a:gd name="T10" fmla="*/ 152 w 160"/>
                  <a:gd name="T11" fmla="*/ 156 h 156"/>
                  <a:gd name="T12" fmla="*/ 160 w 160"/>
                  <a:gd name="T13" fmla="*/ 148 h 156"/>
                  <a:gd name="T14" fmla="*/ 160 w 160"/>
                  <a:gd name="T15" fmla="*/ 24 h 156"/>
                  <a:gd name="T16" fmla="*/ 152 w 160"/>
                  <a:gd name="T17" fmla="*/ 16 h 156"/>
                  <a:gd name="T18" fmla="*/ 136 w 160"/>
                  <a:gd name="T19" fmla="*/ 16 h 156"/>
                  <a:gd name="T20" fmla="*/ 136 w 160"/>
                  <a:gd name="T21" fmla="*/ 4 h 156"/>
                  <a:gd name="T22" fmla="*/ 132 w 160"/>
                  <a:gd name="T23" fmla="*/ 0 h 156"/>
                  <a:gd name="T24" fmla="*/ 120 w 160"/>
                  <a:gd name="T25" fmla="*/ 0 h 156"/>
                  <a:gd name="T26" fmla="*/ 116 w 160"/>
                  <a:gd name="T27" fmla="*/ 4 h 156"/>
                  <a:gd name="T28" fmla="*/ 116 w 160"/>
                  <a:gd name="T29" fmla="*/ 16 h 156"/>
                  <a:gd name="T30" fmla="*/ 44 w 160"/>
                  <a:gd name="T31" fmla="*/ 16 h 156"/>
                  <a:gd name="T32" fmla="*/ 44 w 160"/>
                  <a:gd name="T33" fmla="*/ 4 h 156"/>
                  <a:gd name="T34" fmla="*/ 40 w 160"/>
                  <a:gd name="T35" fmla="*/ 0 h 156"/>
                  <a:gd name="T36" fmla="*/ 28 w 160"/>
                  <a:gd name="T37" fmla="*/ 0 h 156"/>
                  <a:gd name="T38" fmla="*/ 24 w 160"/>
                  <a:gd name="T39" fmla="*/ 4 h 156"/>
                  <a:gd name="T40" fmla="*/ 24 w 160"/>
                  <a:gd name="T41" fmla="*/ 1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56">
                    <a:moveTo>
                      <a:pt x="24" y="16"/>
                    </a:moveTo>
                    <a:cubicBezTo>
                      <a:pt x="8" y="16"/>
                      <a:pt x="8" y="16"/>
                      <a:pt x="8" y="16"/>
                    </a:cubicBezTo>
                    <a:cubicBezTo>
                      <a:pt x="4" y="16"/>
                      <a:pt x="0" y="20"/>
                      <a:pt x="0" y="24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52"/>
                      <a:pt x="4" y="156"/>
                      <a:pt x="8" y="156"/>
                    </a:cubicBezTo>
                    <a:cubicBezTo>
                      <a:pt x="152" y="156"/>
                      <a:pt x="152" y="156"/>
                      <a:pt x="152" y="156"/>
                    </a:cubicBezTo>
                    <a:cubicBezTo>
                      <a:pt x="156" y="156"/>
                      <a:pt x="160" y="152"/>
                      <a:pt x="160" y="148"/>
                    </a:cubicBezTo>
                    <a:cubicBezTo>
                      <a:pt x="160" y="24"/>
                      <a:pt x="160" y="24"/>
                      <a:pt x="160" y="24"/>
                    </a:cubicBezTo>
                    <a:cubicBezTo>
                      <a:pt x="160" y="20"/>
                      <a:pt x="156" y="16"/>
                      <a:pt x="152" y="16"/>
                    </a:cubicBezTo>
                    <a:cubicBezTo>
                      <a:pt x="136" y="16"/>
                      <a:pt x="136" y="16"/>
                      <a:pt x="136" y="16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6" y="2"/>
                      <a:pt x="134" y="0"/>
                      <a:pt x="132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18" y="0"/>
                      <a:pt x="116" y="2"/>
                      <a:pt x="116" y="4"/>
                    </a:cubicBezTo>
                    <a:cubicBezTo>
                      <a:pt x="116" y="16"/>
                      <a:pt x="116" y="16"/>
                      <a:pt x="116" y="16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2"/>
                      <a:pt x="42" y="0"/>
                      <a:pt x="4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6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59" name="Line 264">
                <a:extLst>
                  <a:ext uri="{FF2B5EF4-FFF2-40B4-BE49-F238E27FC236}">
                    <a16:creationId xmlns:a16="http://schemas.microsoft.com/office/drawing/2014/main" id="{DA7B8B17-DAF9-4033-AD45-539E811665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58952" y="4910224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0" name="Line 265">
                <a:extLst>
                  <a:ext uri="{FF2B5EF4-FFF2-40B4-BE49-F238E27FC236}">
                    <a16:creationId xmlns:a16="http://schemas.microsoft.com/office/drawing/2014/main" id="{49ED7645-50E6-446E-899F-F378D1D128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60552" y="4910224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1" name="Line 266">
                <a:extLst>
                  <a:ext uri="{FF2B5EF4-FFF2-40B4-BE49-F238E27FC236}">
                    <a16:creationId xmlns:a16="http://schemas.microsoft.com/office/drawing/2014/main" id="{F3DF364B-9696-4029-AF6F-BC8861955A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62152" y="4910224"/>
                <a:ext cx="52388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2" name="Line 267">
                <a:extLst>
                  <a:ext uri="{FF2B5EF4-FFF2-40B4-BE49-F238E27FC236}">
                    <a16:creationId xmlns:a16="http://schemas.microsoft.com/office/drawing/2014/main" id="{0EFDD52E-58A1-489E-B590-2DE18846ED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55764" y="4973724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3" name="Line 268">
                <a:extLst>
                  <a:ext uri="{FF2B5EF4-FFF2-40B4-BE49-F238E27FC236}">
                    <a16:creationId xmlns:a16="http://schemas.microsoft.com/office/drawing/2014/main" id="{E407937D-EF43-4018-95E2-D60A3544F0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58952" y="4973724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7" name="Line 269">
                <a:extLst>
                  <a:ext uri="{FF2B5EF4-FFF2-40B4-BE49-F238E27FC236}">
                    <a16:creationId xmlns:a16="http://schemas.microsoft.com/office/drawing/2014/main" id="{746AD566-2BC8-4DD0-89C6-710EB58797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60552" y="4973724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8" name="Line 270">
                <a:extLst>
                  <a:ext uri="{FF2B5EF4-FFF2-40B4-BE49-F238E27FC236}">
                    <a16:creationId xmlns:a16="http://schemas.microsoft.com/office/drawing/2014/main" id="{7F4BE324-FAEB-429B-B56B-A6CE8F3FFB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62152" y="4973724"/>
                <a:ext cx="52388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9" name="Line 271">
                <a:extLst>
                  <a:ext uri="{FF2B5EF4-FFF2-40B4-BE49-F238E27FC236}">
                    <a16:creationId xmlns:a16="http://schemas.microsoft.com/office/drawing/2014/main" id="{5E2D64E8-B990-43E8-B115-27EADFC7C7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55764" y="5038811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0" name="Line 272">
                <a:extLst>
                  <a:ext uri="{FF2B5EF4-FFF2-40B4-BE49-F238E27FC236}">
                    <a16:creationId xmlns:a16="http://schemas.microsoft.com/office/drawing/2014/main" id="{9EE8994B-A0EA-42F4-8A2D-3CFA80385A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58952" y="5038811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1" name="Line 273">
                <a:extLst>
                  <a:ext uri="{FF2B5EF4-FFF2-40B4-BE49-F238E27FC236}">
                    <a16:creationId xmlns:a16="http://schemas.microsoft.com/office/drawing/2014/main" id="{34E3DBEE-779A-40B1-B20E-115AF4941B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60552" y="5038811"/>
                <a:ext cx="50800" cy="0"/>
              </a:xfrm>
              <a:prstGeom prst="line">
                <a:avLst/>
              </a:prstGeom>
              <a:noFill/>
              <a:ln w="19050" cap="flat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</p:grpSp>
      </p:grpSp>
      <p:pic>
        <p:nvPicPr>
          <p:cNvPr id="74" name="Gráfico 18">
            <a:extLst>
              <a:ext uri="{FF2B5EF4-FFF2-40B4-BE49-F238E27FC236}">
                <a16:creationId xmlns:a16="http://schemas.microsoft.com/office/drawing/2014/main" id="{427F54E6-7AE1-462C-907B-C8F8FB250D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pic>
        <p:nvPicPr>
          <p:cNvPr id="75" name="Gráfico 7">
            <a:extLst>
              <a:ext uri="{FF2B5EF4-FFF2-40B4-BE49-F238E27FC236}">
                <a16:creationId xmlns:a16="http://schemas.microsoft.com/office/drawing/2014/main" id="{FECC8A91-8570-4A77-8A7A-26D31C8D5A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69338" y="6393773"/>
            <a:ext cx="1447472" cy="262945"/>
          </a:xfrm>
          <a:prstGeom prst="rect">
            <a:avLst/>
          </a:prstGeom>
        </p:spPr>
      </p:pic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12A9CB72-D0A3-480D-A8FB-4123D9752E98}"/>
              </a:ext>
            </a:extLst>
          </p:cNvPr>
          <p:cNvSpPr/>
          <p:nvPr/>
        </p:nvSpPr>
        <p:spPr>
          <a:xfrm>
            <a:off x="8223346" y="1664838"/>
            <a:ext cx="2849169" cy="922245"/>
          </a:xfrm>
          <a:custGeom>
            <a:avLst/>
            <a:gdLst>
              <a:gd name="connsiteX0" fmla="*/ 1607864 w 3215728"/>
              <a:gd name="connsiteY0" fmla="*/ 0 h 1040896"/>
              <a:gd name="connsiteX1" fmla="*/ 3159041 w 3215728"/>
              <a:gd name="connsiteY1" fmla="*/ 923222 h 1040896"/>
              <a:gd name="connsiteX2" fmla="*/ 3215728 w 3215728"/>
              <a:gd name="connsiteY2" fmla="*/ 1040896 h 1040896"/>
              <a:gd name="connsiteX3" fmla="*/ 0 w 3215728"/>
              <a:gd name="connsiteY3" fmla="*/ 1040896 h 1040896"/>
              <a:gd name="connsiteX4" fmla="*/ 56687 w 3215728"/>
              <a:gd name="connsiteY4" fmla="*/ 923222 h 1040896"/>
              <a:gd name="connsiteX5" fmla="*/ 1607864 w 3215728"/>
              <a:gd name="connsiteY5" fmla="*/ 0 h 10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5728" h="1040896">
                <a:moveTo>
                  <a:pt x="1607864" y="0"/>
                </a:moveTo>
                <a:cubicBezTo>
                  <a:pt x="2277683" y="0"/>
                  <a:pt x="2860311" y="373310"/>
                  <a:pt x="3159041" y="923222"/>
                </a:cubicBezTo>
                <a:lnTo>
                  <a:pt x="3215728" y="1040896"/>
                </a:lnTo>
                <a:lnTo>
                  <a:pt x="0" y="1040896"/>
                </a:lnTo>
                <a:lnTo>
                  <a:pt x="56687" y="923222"/>
                </a:lnTo>
                <a:cubicBezTo>
                  <a:pt x="355417" y="373310"/>
                  <a:pt x="938045" y="0"/>
                  <a:pt x="1607864" y="0"/>
                </a:cubicBezTo>
                <a:close/>
              </a:path>
            </a:pathLst>
          </a:custGeom>
          <a:solidFill>
            <a:srgbClr val="F57C7F"/>
          </a:solidFill>
          <a:ln>
            <a:noFill/>
          </a:ln>
          <a:effectLst>
            <a:outerShdw blurRad="152400" dir="144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BAE32C60-207D-4FD4-9828-69ED4298DA88}"/>
              </a:ext>
            </a:extLst>
          </p:cNvPr>
          <p:cNvSpPr/>
          <p:nvPr/>
        </p:nvSpPr>
        <p:spPr>
          <a:xfrm>
            <a:off x="4673771" y="1664838"/>
            <a:ext cx="2849169" cy="922245"/>
          </a:xfrm>
          <a:custGeom>
            <a:avLst/>
            <a:gdLst>
              <a:gd name="connsiteX0" fmla="*/ 1607864 w 3215728"/>
              <a:gd name="connsiteY0" fmla="*/ 0 h 1040896"/>
              <a:gd name="connsiteX1" fmla="*/ 3159041 w 3215728"/>
              <a:gd name="connsiteY1" fmla="*/ 923222 h 1040896"/>
              <a:gd name="connsiteX2" fmla="*/ 3215728 w 3215728"/>
              <a:gd name="connsiteY2" fmla="*/ 1040896 h 1040896"/>
              <a:gd name="connsiteX3" fmla="*/ 0 w 3215728"/>
              <a:gd name="connsiteY3" fmla="*/ 1040896 h 1040896"/>
              <a:gd name="connsiteX4" fmla="*/ 56687 w 3215728"/>
              <a:gd name="connsiteY4" fmla="*/ 923222 h 1040896"/>
              <a:gd name="connsiteX5" fmla="*/ 1607864 w 3215728"/>
              <a:gd name="connsiteY5" fmla="*/ 0 h 10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5728" h="1040896">
                <a:moveTo>
                  <a:pt x="1607864" y="0"/>
                </a:moveTo>
                <a:cubicBezTo>
                  <a:pt x="2277683" y="0"/>
                  <a:pt x="2860311" y="373310"/>
                  <a:pt x="3159041" y="923222"/>
                </a:cubicBezTo>
                <a:lnTo>
                  <a:pt x="3215728" y="1040896"/>
                </a:lnTo>
                <a:lnTo>
                  <a:pt x="0" y="1040896"/>
                </a:lnTo>
                <a:lnTo>
                  <a:pt x="56687" y="923222"/>
                </a:lnTo>
                <a:cubicBezTo>
                  <a:pt x="355417" y="373310"/>
                  <a:pt x="938045" y="0"/>
                  <a:pt x="1607864" y="0"/>
                </a:cubicBezTo>
                <a:close/>
              </a:path>
            </a:pathLst>
          </a:custGeom>
          <a:solidFill>
            <a:srgbClr val="F57C7F"/>
          </a:solidFill>
          <a:ln>
            <a:noFill/>
          </a:ln>
          <a:effectLst>
            <a:outerShdw blurRad="152400" dir="144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12E3C366-841B-472F-BB32-8794F4006E7F}"/>
              </a:ext>
            </a:extLst>
          </p:cNvPr>
          <p:cNvSpPr/>
          <p:nvPr/>
        </p:nvSpPr>
        <p:spPr>
          <a:xfrm flipV="1">
            <a:off x="4651975" y="2587083"/>
            <a:ext cx="2892759" cy="49314"/>
          </a:xfrm>
          <a:custGeom>
            <a:avLst/>
            <a:gdLst>
              <a:gd name="connsiteX0" fmla="*/ 24599 w 3264926"/>
              <a:gd name="connsiteY0" fmla="*/ 55659 h 55659"/>
              <a:gd name="connsiteX1" fmla="*/ 3240327 w 3264926"/>
              <a:gd name="connsiteY1" fmla="*/ 55659 h 55659"/>
              <a:gd name="connsiteX2" fmla="*/ 3257926 w 3264926"/>
              <a:gd name="connsiteY2" fmla="*/ 19126 h 55659"/>
              <a:gd name="connsiteX3" fmla="*/ 3264926 w 3264926"/>
              <a:gd name="connsiteY3" fmla="*/ 0 h 55659"/>
              <a:gd name="connsiteX4" fmla="*/ 0 w 3264926"/>
              <a:gd name="connsiteY4" fmla="*/ 0 h 55659"/>
              <a:gd name="connsiteX5" fmla="*/ 7000 w 3264926"/>
              <a:gd name="connsiteY5" fmla="*/ 19126 h 55659"/>
              <a:gd name="connsiteX6" fmla="*/ 24599 w 3264926"/>
              <a:gd name="connsiteY6" fmla="*/ 55659 h 55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4926" h="55659">
                <a:moveTo>
                  <a:pt x="24599" y="55659"/>
                </a:moveTo>
                <a:lnTo>
                  <a:pt x="3240327" y="55659"/>
                </a:lnTo>
                <a:lnTo>
                  <a:pt x="3257926" y="19126"/>
                </a:lnTo>
                <a:lnTo>
                  <a:pt x="3264926" y="0"/>
                </a:lnTo>
                <a:lnTo>
                  <a:pt x="0" y="0"/>
                </a:lnTo>
                <a:lnTo>
                  <a:pt x="7000" y="19126"/>
                </a:lnTo>
                <a:lnTo>
                  <a:pt x="24599" y="55659"/>
                </a:lnTo>
                <a:close/>
              </a:path>
            </a:pathLst>
          </a:custGeom>
          <a:solidFill>
            <a:srgbClr val="E706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PT"/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2A96DC0C-3861-4B7E-BAD3-B5BB5910F212}"/>
              </a:ext>
            </a:extLst>
          </p:cNvPr>
          <p:cNvSpPr/>
          <p:nvPr/>
        </p:nvSpPr>
        <p:spPr>
          <a:xfrm flipV="1">
            <a:off x="4535348" y="2636396"/>
            <a:ext cx="3126012" cy="2154453"/>
          </a:xfrm>
          <a:custGeom>
            <a:avLst/>
            <a:gdLst>
              <a:gd name="connsiteX0" fmla="*/ 131631 w 3528188"/>
              <a:gd name="connsiteY0" fmla="*/ 2431633 h 2431633"/>
              <a:gd name="connsiteX1" fmla="*/ 3396557 w 3528188"/>
              <a:gd name="connsiteY1" fmla="*/ 2431633 h 2431633"/>
              <a:gd name="connsiteX2" fmla="*/ 3448878 w 3528188"/>
              <a:gd name="connsiteY2" fmla="*/ 2288681 h 2431633"/>
              <a:gd name="connsiteX3" fmla="*/ 3528188 w 3528188"/>
              <a:gd name="connsiteY3" fmla="*/ 1764094 h 2431633"/>
              <a:gd name="connsiteX4" fmla="*/ 1764094 w 3528188"/>
              <a:gd name="connsiteY4" fmla="*/ 0 h 2431633"/>
              <a:gd name="connsiteX5" fmla="*/ 0 w 3528188"/>
              <a:gd name="connsiteY5" fmla="*/ 1764094 h 2431633"/>
              <a:gd name="connsiteX6" fmla="*/ 79310 w 3528188"/>
              <a:gd name="connsiteY6" fmla="*/ 2288681 h 2431633"/>
              <a:gd name="connsiteX7" fmla="*/ 131631 w 3528188"/>
              <a:gd name="connsiteY7" fmla="*/ 2431633 h 2431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8188" h="2431633">
                <a:moveTo>
                  <a:pt x="131631" y="2431633"/>
                </a:moveTo>
                <a:lnTo>
                  <a:pt x="3396557" y="2431633"/>
                </a:lnTo>
                <a:lnTo>
                  <a:pt x="3448878" y="2288681"/>
                </a:lnTo>
                <a:cubicBezTo>
                  <a:pt x="3500421" y="2122964"/>
                  <a:pt x="3528188" y="1946771"/>
                  <a:pt x="3528188" y="1764094"/>
                </a:cubicBezTo>
                <a:cubicBezTo>
                  <a:pt x="3528188" y="789812"/>
                  <a:pt x="2738376" y="0"/>
                  <a:pt x="1764094" y="0"/>
                </a:cubicBezTo>
                <a:cubicBezTo>
                  <a:pt x="789812" y="0"/>
                  <a:pt x="0" y="789812"/>
                  <a:pt x="0" y="1764094"/>
                </a:cubicBezTo>
                <a:cubicBezTo>
                  <a:pt x="0" y="1946771"/>
                  <a:pt x="27767" y="2122964"/>
                  <a:pt x="79310" y="2288681"/>
                </a:cubicBezTo>
                <a:lnTo>
                  <a:pt x="131631" y="2431633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>
            <a:outerShdw blurRad="152400" dir="144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2A817057-3564-4602-A666-88B8C2251CB1}"/>
              </a:ext>
            </a:extLst>
          </p:cNvPr>
          <p:cNvSpPr/>
          <p:nvPr/>
        </p:nvSpPr>
        <p:spPr>
          <a:xfrm>
            <a:off x="1142933" y="1664838"/>
            <a:ext cx="2849169" cy="922245"/>
          </a:xfrm>
          <a:custGeom>
            <a:avLst/>
            <a:gdLst>
              <a:gd name="connsiteX0" fmla="*/ 1607864 w 3215728"/>
              <a:gd name="connsiteY0" fmla="*/ 0 h 1040896"/>
              <a:gd name="connsiteX1" fmla="*/ 3159041 w 3215728"/>
              <a:gd name="connsiteY1" fmla="*/ 923222 h 1040896"/>
              <a:gd name="connsiteX2" fmla="*/ 3215728 w 3215728"/>
              <a:gd name="connsiteY2" fmla="*/ 1040896 h 1040896"/>
              <a:gd name="connsiteX3" fmla="*/ 0 w 3215728"/>
              <a:gd name="connsiteY3" fmla="*/ 1040896 h 1040896"/>
              <a:gd name="connsiteX4" fmla="*/ 56687 w 3215728"/>
              <a:gd name="connsiteY4" fmla="*/ 923222 h 1040896"/>
              <a:gd name="connsiteX5" fmla="*/ 1607864 w 3215728"/>
              <a:gd name="connsiteY5" fmla="*/ 0 h 10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5728" h="1040896">
                <a:moveTo>
                  <a:pt x="1607864" y="0"/>
                </a:moveTo>
                <a:cubicBezTo>
                  <a:pt x="2277683" y="0"/>
                  <a:pt x="2860311" y="373310"/>
                  <a:pt x="3159041" y="923222"/>
                </a:cubicBezTo>
                <a:lnTo>
                  <a:pt x="3215728" y="1040896"/>
                </a:lnTo>
                <a:lnTo>
                  <a:pt x="0" y="1040896"/>
                </a:lnTo>
                <a:lnTo>
                  <a:pt x="56687" y="923222"/>
                </a:lnTo>
                <a:cubicBezTo>
                  <a:pt x="355417" y="373310"/>
                  <a:pt x="938045" y="0"/>
                  <a:pt x="1607864" y="0"/>
                </a:cubicBezTo>
                <a:close/>
              </a:path>
            </a:pathLst>
          </a:custGeom>
          <a:solidFill>
            <a:srgbClr val="F57C7F"/>
          </a:solidFill>
          <a:ln>
            <a:noFill/>
          </a:ln>
          <a:effectLst>
            <a:outerShdw blurRad="152400" dir="144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866C614-4B8F-44A4-BCD0-9D58BF65CEA8}"/>
              </a:ext>
            </a:extLst>
          </p:cNvPr>
          <p:cNvSpPr/>
          <p:nvPr/>
        </p:nvSpPr>
        <p:spPr>
          <a:xfrm flipV="1">
            <a:off x="1121137" y="2587083"/>
            <a:ext cx="2892759" cy="49314"/>
          </a:xfrm>
          <a:custGeom>
            <a:avLst/>
            <a:gdLst>
              <a:gd name="connsiteX0" fmla="*/ 24599 w 3264926"/>
              <a:gd name="connsiteY0" fmla="*/ 55659 h 55659"/>
              <a:gd name="connsiteX1" fmla="*/ 3240327 w 3264926"/>
              <a:gd name="connsiteY1" fmla="*/ 55659 h 55659"/>
              <a:gd name="connsiteX2" fmla="*/ 3257926 w 3264926"/>
              <a:gd name="connsiteY2" fmla="*/ 19126 h 55659"/>
              <a:gd name="connsiteX3" fmla="*/ 3264926 w 3264926"/>
              <a:gd name="connsiteY3" fmla="*/ 0 h 55659"/>
              <a:gd name="connsiteX4" fmla="*/ 0 w 3264926"/>
              <a:gd name="connsiteY4" fmla="*/ 0 h 55659"/>
              <a:gd name="connsiteX5" fmla="*/ 7000 w 3264926"/>
              <a:gd name="connsiteY5" fmla="*/ 19126 h 55659"/>
              <a:gd name="connsiteX6" fmla="*/ 24599 w 3264926"/>
              <a:gd name="connsiteY6" fmla="*/ 55659 h 55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4926" h="55659">
                <a:moveTo>
                  <a:pt x="24599" y="55659"/>
                </a:moveTo>
                <a:lnTo>
                  <a:pt x="3240327" y="55659"/>
                </a:lnTo>
                <a:lnTo>
                  <a:pt x="3257926" y="19126"/>
                </a:lnTo>
                <a:lnTo>
                  <a:pt x="3264926" y="0"/>
                </a:lnTo>
                <a:lnTo>
                  <a:pt x="0" y="0"/>
                </a:lnTo>
                <a:lnTo>
                  <a:pt x="7000" y="19126"/>
                </a:lnTo>
                <a:lnTo>
                  <a:pt x="24599" y="55659"/>
                </a:lnTo>
                <a:close/>
              </a:path>
            </a:pathLst>
          </a:custGeom>
          <a:solidFill>
            <a:srgbClr val="E706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PT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BE6E9E37-82BD-480E-8272-E21CFB033181}"/>
              </a:ext>
            </a:extLst>
          </p:cNvPr>
          <p:cNvSpPr/>
          <p:nvPr/>
        </p:nvSpPr>
        <p:spPr>
          <a:xfrm flipV="1">
            <a:off x="1004510" y="2636396"/>
            <a:ext cx="3126012" cy="2154453"/>
          </a:xfrm>
          <a:custGeom>
            <a:avLst/>
            <a:gdLst>
              <a:gd name="connsiteX0" fmla="*/ 131631 w 3528188"/>
              <a:gd name="connsiteY0" fmla="*/ 2431633 h 2431633"/>
              <a:gd name="connsiteX1" fmla="*/ 3396557 w 3528188"/>
              <a:gd name="connsiteY1" fmla="*/ 2431633 h 2431633"/>
              <a:gd name="connsiteX2" fmla="*/ 3448878 w 3528188"/>
              <a:gd name="connsiteY2" fmla="*/ 2288681 h 2431633"/>
              <a:gd name="connsiteX3" fmla="*/ 3528188 w 3528188"/>
              <a:gd name="connsiteY3" fmla="*/ 1764094 h 2431633"/>
              <a:gd name="connsiteX4" fmla="*/ 1764094 w 3528188"/>
              <a:gd name="connsiteY4" fmla="*/ 0 h 2431633"/>
              <a:gd name="connsiteX5" fmla="*/ 0 w 3528188"/>
              <a:gd name="connsiteY5" fmla="*/ 1764094 h 2431633"/>
              <a:gd name="connsiteX6" fmla="*/ 79310 w 3528188"/>
              <a:gd name="connsiteY6" fmla="*/ 2288681 h 2431633"/>
              <a:gd name="connsiteX7" fmla="*/ 131631 w 3528188"/>
              <a:gd name="connsiteY7" fmla="*/ 2431633 h 2431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8188" h="2431633">
                <a:moveTo>
                  <a:pt x="131631" y="2431633"/>
                </a:moveTo>
                <a:lnTo>
                  <a:pt x="3396557" y="2431633"/>
                </a:lnTo>
                <a:lnTo>
                  <a:pt x="3448878" y="2288681"/>
                </a:lnTo>
                <a:cubicBezTo>
                  <a:pt x="3500421" y="2122964"/>
                  <a:pt x="3528188" y="1946771"/>
                  <a:pt x="3528188" y="1764094"/>
                </a:cubicBezTo>
                <a:cubicBezTo>
                  <a:pt x="3528188" y="789812"/>
                  <a:pt x="2738376" y="0"/>
                  <a:pt x="1764094" y="0"/>
                </a:cubicBezTo>
                <a:cubicBezTo>
                  <a:pt x="789812" y="0"/>
                  <a:pt x="0" y="789812"/>
                  <a:pt x="0" y="1764094"/>
                </a:cubicBezTo>
                <a:cubicBezTo>
                  <a:pt x="0" y="1946771"/>
                  <a:pt x="27767" y="2122964"/>
                  <a:pt x="79310" y="2288681"/>
                </a:cubicBezTo>
                <a:lnTo>
                  <a:pt x="131631" y="2431633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>
            <a:outerShdw blurRad="152400" dir="144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7D4E4C9-1877-4E2B-BDA2-95E20D58EC18}"/>
              </a:ext>
            </a:extLst>
          </p:cNvPr>
          <p:cNvGrpSpPr/>
          <p:nvPr/>
        </p:nvGrpSpPr>
        <p:grpSpPr>
          <a:xfrm>
            <a:off x="8599232" y="2020963"/>
            <a:ext cx="2097397" cy="478669"/>
            <a:chOff x="8619678" y="1872650"/>
            <a:chExt cx="2367237" cy="54025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4D0DFAC-BCB0-4DBD-9788-1836B46CC3DA}"/>
                </a:ext>
              </a:extLst>
            </p:cNvPr>
            <p:cNvSpPr txBox="1"/>
            <p:nvPr/>
          </p:nvSpPr>
          <p:spPr>
            <a:xfrm>
              <a:off x="8619678" y="1879271"/>
              <a:ext cx="1853282" cy="533631"/>
            </a:xfrm>
            <a:prstGeom prst="rect">
              <a:avLst/>
            </a:prstGeom>
            <a:noFill/>
          </p:spPr>
          <p:txBody>
            <a:bodyPr wrap="square" lIns="0" tIns="35995" rIns="0" bIns="35995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 &amp; Business Leverage</a:t>
              </a: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66F65B17-880F-4C4E-8E99-39D196009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7672" y="1872650"/>
              <a:ext cx="529243" cy="52924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567AF1B-E654-4914-9DEC-D425B6BF6C1E}"/>
              </a:ext>
            </a:extLst>
          </p:cNvPr>
          <p:cNvGrpSpPr/>
          <p:nvPr/>
        </p:nvGrpSpPr>
        <p:grpSpPr>
          <a:xfrm>
            <a:off x="5320010" y="2026829"/>
            <a:ext cx="1556691" cy="472803"/>
            <a:chOff x="4997877" y="1879271"/>
            <a:chExt cx="1756966" cy="533632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DB7CD3D-971F-4222-A129-0A4513B59DF5}"/>
                </a:ext>
              </a:extLst>
            </p:cNvPr>
            <p:cNvSpPr txBox="1"/>
            <p:nvPr/>
          </p:nvSpPr>
          <p:spPr>
            <a:xfrm>
              <a:off x="4997877" y="1879271"/>
              <a:ext cx="1370598" cy="533632"/>
            </a:xfrm>
            <a:prstGeom prst="rect">
              <a:avLst/>
            </a:prstGeom>
            <a:noFill/>
          </p:spPr>
          <p:txBody>
            <a:bodyPr wrap="square" lIns="0" tIns="35995" rIns="0" bIns="35995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tics &amp; Data Science</a:t>
              </a:r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C1B9FD67-A9B9-4C6A-BE98-7C0D88DDF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5665" y="1909038"/>
              <a:ext cx="379178" cy="391153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B7AB374-7932-4151-9DB5-E4CDC4787EEE}"/>
              </a:ext>
            </a:extLst>
          </p:cNvPr>
          <p:cNvGrpSpPr/>
          <p:nvPr/>
        </p:nvGrpSpPr>
        <p:grpSpPr>
          <a:xfrm>
            <a:off x="1674370" y="1979595"/>
            <a:ext cx="1786295" cy="519026"/>
            <a:chOff x="1191664" y="1825959"/>
            <a:chExt cx="2016111" cy="585801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57D0253-C5EE-40BE-AA79-124F1554605A}"/>
                </a:ext>
              </a:extLst>
            </p:cNvPr>
            <p:cNvSpPr/>
            <p:nvPr/>
          </p:nvSpPr>
          <p:spPr>
            <a:xfrm>
              <a:off x="1191664" y="1825959"/>
              <a:ext cx="1583449" cy="5858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tical Data Management</a:t>
              </a: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14CF1521-FA10-494E-9E42-DFD71F18C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8158" y="1913177"/>
              <a:ext cx="479617" cy="465816"/>
            </a:xfrm>
            <a:prstGeom prst="rect">
              <a:avLst/>
            </a:prstGeom>
          </p:spPr>
        </p:pic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ACEA66BE-A877-4668-851E-0C825F704E7B}"/>
              </a:ext>
            </a:extLst>
          </p:cNvPr>
          <p:cNvSpPr txBox="1"/>
          <p:nvPr/>
        </p:nvSpPr>
        <p:spPr>
          <a:xfrm>
            <a:off x="1256007" y="2757634"/>
            <a:ext cx="2623019" cy="14400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 + External Data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Intelligence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al Data Quality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trategy</a:t>
            </a:r>
            <a:endParaRPr lang="pt-PT" sz="1500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F7B5EE1-3A1D-4BEB-A440-BE38499B0121}"/>
              </a:ext>
            </a:extLst>
          </p:cNvPr>
          <p:cNvSpPr txBox="1"/>
          <p:nvPr/>
        </p:nvSpPr>
        <p:spPr>
          <a:xfrm>
            <a:off x="4449172" y="2740529"/>
            <a:ext cx="3308687" cy="1088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Centric Analytics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gnitive Analytics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/>
                <a:cs typeface="Arial"/>
              </a:rPr>
              <a:t>Advanced Analytics Research</a:t>
            </a:r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7AD09250-980B-4DD1-9535-207726D82B87}"/>
              </a:ext>
            </a:extLst>
          </p:cNvPr>
          <p:cNvSpPr/>
          <p:nvPr/>
        </p:nvSpPr>
        <p:spPr>
          <a:xfrm flipV="1">
            <a:off x="8084923" y="2636396"/>
            <a:ext cx="3126012" cy="2154453"/>
          </a:xfrm>
          <a:custGeom>
            <a:avLst/>
            <a:gdLst>
              <a:gd name="connsiteX0" fmla="*/ 131631 w 3528188"/>
              <a:gd name="connsiteY0" fmla="*/ 2431633 h 2431633"/>
              <a:gd name="connsiteX1" fmla="*/ 3396557 w 3528188"/>
              <a:gd name="connsiteY1" fmla="*/ 2431633 h 2431633"/>
              <a:gd name="connsiteX2" fmla="*/ 3448878 w 3528188"/>
              <a:gd name="connsiteY2" fmla="*/ 2288681 h 2431633"/>
              <a:gd name="connsiteX3" fmla="*/ 3528188 w 3528188"/>
              <a:gd name="connsiteY3" fmla="*/ 1764094 h 2431633"/>
              <a:gd name="connsiteX4" fmla="*/ 1764094 w 3528188"/>
              <a:gd name="connsiteY4" fmla="*/ 0 h 2431633"/>
              <a:gd name="connsiteX5" fmla="*/ 0 w 3528188"/>
              <a:gd name="connsiteY5" fmla="*/ 1764094 h 2431633"/>
              <a:gd name="connsiteX6" fmla="*/ 79310 w 3528188"/>
              <a:gd name="connsiteY6" fmla="*/ 2288681 h 2431633"/>
              <a:gd name="connsiteX7" fmla="*/ 131631 w 3528188"/>
              <a:gd name="connsiteY7" fmla="*/ 2431633 h 2431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8188" h="2431633">
                <a:moveTo>
                  <a:pt x="131631" y="2431633"/>
                </a:moveTo>
                <a:lnTo>
                  <a:pt x="3396557" y="2431633"/>
                </a:lnTo>
                <a:lnTo>
                  <a:pt x="3448878" y="2288681"/>
                </a:lnTo>
                <a:cubicBezTo>
                  <a:pt x="3500421" y="2122964"/>
                  <a:pt x="3528188" y="1946771"/>
                  <a:pt x="3528188" y="1764094"/>
                </a:cubicBezTo>
                <a:cubicBezTo>
                  <a:pt x="3528188" y="789812"/>
                  <a:pt x="2738376" y="0"/>
                  <a:pt x="1764094" y="0"/>
                </a:cubicBezTo>
                <a:cubicBezTo>
                  <a:pt x="789812" y="0"/>
                  <a:pt x="0" y="789812"/>
                  <a:pt x="0" y="1764094"/>
                </a:cubicBezTo>
                <a:cubicBezTo>
                  <a:pt x="0" y="1946771"/>
                  <a:pt x="27767" y="2122964"/>
                  <a:pt x="79310" y="2288681"/>
                </a:cubicBezTo>
                <a:lnTo>
                  <a:pt x="131631" y="2431633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>
            <a:outerShdw blurRad="152400" dir="144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8ADF0518-37B5-41A8-8181-A1E767E474F6}"/>
              </a:ext>
            </a:extLst>
          </p:cNvPr>
          <p:cNvSpPr/>
          <p:nvPr/>
        </p:nvSpPr>
        <p:spPr>
          <a:xfrm flipV="1">
            <a:off x="8201549" y="2587083"/>
            <a:ext cx="2892759" cy="49314"/>
          </a:xfrm>
          <a:custGeom>
            <a:avLst/>
            <a:gdLst>
              <a:gd name="connsiteX0" fmla="*/ 24599 w 3264926"/>
              <a:gd name="connsiteY0" fmla="*/ 55659 h 55659"/>
              <a:gd name="connsiteX1" fmla="*/ 3240327 w 3264926"/>
              <a:gd name="connsiteY1" fmla="*/ 55659 h 55659"/>
              <a:gd name="connsiteX2" fmla="*/ 3257926 w 3264926"/>
              <a:gd name="connsiteY2" fmla="*/ 19126 h 55659"/>
              <a:gd name="connsiteX3" fmla="*/ 3264926 w 3264926"/>
              <a:gd name="connsiteY3" fmla="*/ 0 h 55659"/>
              <a:gd name="connsiteX4" fmla="*/ 0 w 3264926"/>
              <a:gd name="connsiteY4" fmla="*/ 0 h 55659"/>
              <a:gd name="connsiteX5" fmla="*/ 7000 w 3264926"/>
              <a:gd name="connsiteY5" fmla="*/ 19126 h 55659"/>
              <a:gd name="connsiteX6" fmla="*/ 24599 w 3264926"/>
              <a:gd name="connsiteY6" fmla="*/ 55659 h 55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4926" h="55659">
                <a:moveTo>
                  <a:pt x="24599" y="55659"/>
                </a:moveTo>
                <a:lnTo>
                  <a:pt x="3240327" y="55659"/>
                </a:lnTo>
                <a:lnTo>
                  <a:pt x="3257926" y="19126"/>
                </a:lnTo>
                <a:lnTo>
                  <a:pt x="3264926" y="0"/>
                </a:lnTo>
                <a:lnTo>
                  <a:pt x="0" y="0"/>
                </a:lnTo>
                <a:lnTo>
                  <a:pt x="7000" y="19126"/>
                </a:lnTo>
                <a:lnTo>
                  <a:pt x="24599" y="55659"/>
                </a:lnTo>
                <a:close/>
              </a:path>
            </a:pathLst>
          </a:custGeom>
          <a:solidFill>
            <a:srgbClr val="E706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PT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1E69226-4F3F-4839-8DAB-7C5F724A7E3F}"/>
              </a:ext>
            </a:extLst>
          </p:cNvPr>
          <p:cNvSpPr txBox="1"/>
          <p:nvPr/>
        </p:nvSpPr>
        <p:spPr>
          <a:xfrm>
            <a:off x="8216580" y="2757633"/>
            <a:ext cx="2892760" cy="14400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Management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 Management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al Diagnosis</a:t>
            </a:r>
          </a:p>
          <a:p>
            <a:pPr algn="ctr">
              <a:lnSpc>
                <a:spcPct val="150000"/>
              </a:lnSpc>
            </a:pPr>
            <a:r>
              <a:rPr lang="pt-BR" sz="1500" b="1" dirty="0">
                <a:solidFill>
                  <a:srgbClr val="EE24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zation</a:t>
            </a:r>
            <a:endParaRPr lang="pt-PT" sz="1500" dirty="0"/>
          </a:p>
        </p:txBody>
      </p:sp>
    </p:spTree>
    <p:extLst>
      <p:ext uri="{BB962C8B-B14F-4D97-AF65-F5344CB8AC3E}">
        <p14:creationId xmlns:p14="http://schemas.microsoft.com/office/powerpoint/2010/main" val="510698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C528E6E-082F-4B92-A881-1D0911818E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4949"/>
            <a:ext cx="12192000" cy="3443347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2264" y="6474716"/>
            <a:ext cx="1447472" cy="26294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AD03883-EBE6-472B-9D33-D3279D57D8D0}"/>
              </a:ext>
            </a:extLst>
          </p:cNvPr>
          <p:cNvSpPr txBox="1">
            <a:spLocks/>
          </p:cNvSpPr>
          <p:nvPr/>
        </p:nvSpPr>
        <p:spPr>
          <a:xfrm>
            <a:off x="1665341" y="1324753"/>
            <a:ext cx="3167915" cy="428152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200"/>
              <a:t>Desafio</a:t>
            </a:r>
            <a:endParaRPr lang="pt-PT" sz="20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A67C6D7-F444-4FD0-B96A-1D7E041704F4}"/>
              </a:ext>
            </a:extLst>
          </p:cNvPr>
          <p:cNvSpPr/>
          <p:nvPr/>
        </p:nvSpPr>
        <p:spPr>
          <a:xfrm>
            <a:off x="5653706" y="697191"/>
            <a:ext cx="6175868" cy="2631636"/>
          </a:xfrm>
          <a:prstGeom prst="rect">
            <a:avLst/>
          </a:prstGeom>
          <a:solidFill>
            <a:srgbClr val="F7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BFB166-D718-48D1-A5DD-01F41E4D734F}"/>
              </a:ext>
            </a:extLst>
          </p:cNvPr>
          <p:cNvSpPr txBox="1"/>
          <p:nvPr/>
        </p:nvSpPr>
        <p:spPr>
          <a:xfrm>
            <a:off x="7107586" y="1001587"/>
            <a:ext cx="451778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Identificar quais os clientes mais propensos a adquirir um seguro de vida risc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DB3CDB-72CF-4A41-86B4-F44706382B38}"/>
              </a:ext>
            </a:extLst>
          </p:cNvPr>
          <p:cNvSpPr txBox="1"/>
          <p:nvPr/>
        </p:nvSpPr>
        <p:spPr>
          <a:xfrm>
            <a:off x="5832792" y="1025154"/>
            <a:ext cx="1361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Objetivo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305E32-129F-4726-95A2-2CEF4399FFA6}"/>
              </a:ext>
            </a:extLst>
          </p:cNvPr>
          <p:cNvSpPr txBox="1"/>
          <p:nvPr/>
        </p:nvSpPr>
        <p:spPr>
          <a:xfrm>
            <a:off x="5832792" y="2436076"/>
            <a:ext cx="13619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Universo Tempor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4C08A6-2EF8-4CA5-B085-F22F34E10179}"/>
              </a:ext>
            </a:extLst>
          </p:cNvPr>
          <p:cNvSpPr txBox="1"/>
          <p:nvPr/>
        </p:nvSpPr>
        <p:spPr>
          <a:xfrm>
            <a:off x="7107587" y="2574575"/>
            <a:ext cx="451778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21 meses: setembro/2018 </a:t>
            </a:r>
            <a:r>
              <a:rPr lang="pt-PT" sz="170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a maio/</a:t>
            </a:r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202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B597A1-987B-40A7-9B96-EB22E4329B08}"/>
              </a:ext>
            </a:extLst>
          </p:cNvPr>
          <p:cNvSpPr txBox="1"/>
          <p:nvPr/>
        </p:nvSpPr>
        <p:spPr>
          <a:xfrm>
            <a:off x="5832792" y="1845873"/>
            <a:ext cx="1361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dirty="0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Produ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BBA217-63B9-4612-9FE4-9173281AE512}"/>
              </a:ext>
            </a:extLst>
          </p:cNvPr>
          <p:cNvSpPr txBox="1"/>
          <p:nvPr/>
        </p:nvSpPr>
        <p:spPr>
          <a:xfrm>
            <a:off x="7107586" y="1855871"/>
            <a:ext cx="451778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700" dirty="0">
                <a:solidFill>
                  <a:srgbClr val="1C1C1C"/>
                </a:solidFill>
                <a:latin typeface="72" panose="020B0503030000000003" pitchFamily="34" charset="0"/>
                <a:cs typeface="72" panose="020B0503030000000003" pitchFamily="34" charset="0"/>
              </a:rPr>
              <a:t>Proteção Vital da Família</a:t>
            </a:r>
          </a:p>
        </p:txBody>
      </p:sp>
    </p:spTree>
    <p:extLst>
      <p:ext uri="{BB962C8B-B14F-4D97-AF65-F5344CB8AC3E}">
        <p14:creationId xmlns:p14="http://schemas.microsoft.com/office/powerpoint/2010/main" val="52795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5" grpId="0"/>
      <p:bldP spid="16" grpId="0"/>
      <p:bldP spid="19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2D5A384-2C7A-4B37-B9FE-33C7019A9D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616" y="1856049"/>
            <a:ext cx="3292524" cy="598112"/>
          </a:xfrm>
          <a:prstGeom prst="rect">
            <a:avLst/>
          </a:prstGeom>
        </p:spPr>
      </p:pic>
      <p:cxnSp>
        <p:nvCxnSpPr>
          <p:cNvPr id="40" name="Straight Connector 12">
            <a:extLst>
              <a:ext uri="{FF2B5EF4-FFF2-40B4-BE49-F238E27FC236}">
                <a16:creationId xmlns:a16="http://schemas.microsoft.com/office/drawing/2014/main" id="{D4BDCD00-BA97-40D8-93CD-0A9CA931B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402080" y="3429000"/>
            <a:ext cx="263652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C528E6E-082F-4B92-A881-1D0911818E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9115" y="4236659"/>
            <a:ext cx="3279025" cy="926324"/>
          </a:xfrm>
          <a:prstGeom prst="rect">
            <a:avLst/>
          </a:prstGeom>
        </p:spPr>
      </p:pic>
      <p:cxnSp>
        <p:nvCxnSpPr>
          <p:cNvPr id="41" name="Straight Connector 14">
            <a:extLst>
              <a:ext uri="{FF2B5EF4-FFF2-40B4-BE49-F238E27FC236}">
                <a16:creationId xmlns:a16="http://schemas.microsoft.com/office/drawing/2014/main" id="{2D631E40-F51C-4828-B23B-DF90351329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5C6C57E-74DC-4CD2-ABB4-0C14A5E049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3932" y="1763157"/>
            <a:ext cx="7164916" cy="3331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07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A2693C99982044C851C483C7665CB6F" ma:contentTypeVersion="15" ma:contentTypeDescription="Criar um novo documento." ma:contentTypeScope="" ma:versionID="fcdd6452ab8479463f8b29cfc8f2bbe7">
  <xsd:schema xmlns:xsd="http://www.w3.org/2001/XMLSchema" xmlns:xs="http://www.w3.org/2001/XMLSchema" xmlns:p="http://schemas.microsoft.com/office/2006/metadata/properties" xmlns:ns2="aac2856d-9285-49d4-bcaf-bd804abe48b1" xmlns:ns3="aac3d540-93d0-44d9-bd98-e4919524b97b" targetNamespace="http://schemas.microsoft.com/office/2006/metadata/properties" ma:root="true" ma:fieldsID="7327df34a5bd872208ccb225ed9f8863" ns2:_="" ns3:_="">
    <xsd:import namespace="aac2856d-9285-49d4-bcaf-bd804abe48b1"/>
    <xsd:import namespace="aac3d540-93d0-44d9-bd98-e4919524b9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c2856d-9285-49d4-bcaf-bd804abe48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Etiquetas de Imagem" ma:readOnly="false" ma:fieldId="{5cf76f15-5ced-4ddc-b409-7134ff3c332f}" ma:taxonomyMulti="true" ma:sspId="41f4e3bb-642e-4869-bb4f-8422344989c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c3d540-93d0-44d9-bd98-e4919524b97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314ae35-dc2c-4afe-8753-516d6f9c64f8}" ma:internalName="TaxCatchAll" ma:showField="CatchAllData" ma:web="aac3d540-93d0-44d9-bd98-e4919524b97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ac3d540-93d0-44d9-bd98-e4919524b97b">
      <UserInfo>
        <DisplayName/>
        <AccountId xsi:nil="true"/>
        <AccountType/>
      </UserInfo>
    </SharedWithUsers>
    <MediaLengthInSeconds xmlns="aac2856d-9285-49d4-bcaf-bd804abe48b1" xsi:nil="true"/>
    <TaxCatchAll xmlns="aac3d540-93d0-44d9-bd98-e4919524b97b" xsi:nil="true"/>
    <lcf76f155ced4ddcb4097134ff3c332f xmlns="aac2856d-9285-49d4-bcaf-bd804abe48b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3093234-6B0D-42ED-B5AE-3246E1C7C2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682D291-03CC-4C78-A33C-8FBDEF58C47C}"/>
</file>

<file path=customXml/itemProps3.xml><?xml version="1.0" encoding="utf-8"?>
<ds:datastoreItem xmlns:ds="http://schemas.openxmlformats.org/officeDocument/2006/customXml" ds:itemID="{F233C064-FDC0-4AAC-822A-A3D95AAF7521}">
  <ds:schemaRefs>
    <ds:schemaRef ds:uri="aac2856d-9285-49d4-bcaf-bd804abe48b1"/>
    <ds:schemaRef ds:uri="aac3d540-93d0-44d9-bd98-e4919524b97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38</TotalTime>
  <Words>321</Words>
  <Application>Microsoft Office PowerPoint</Application>
  <PresentationFormat>Widescreen</PresentationFormat>
  <Paragraphs>79</Paragraphs>
  <Slides>1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72</vt:lpstr>
      <vt:lpstr>Arial</vt:lpstr>
      <vt:lpstr>Calibri</vt:lpstr>
      <vt:lpstr>Calibri Light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Fidelidade Mundi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nando Francisco Marques Alves [EE] (CAA)</dc:creator>
  <cp:lastModifiedBy>Ana Filipa Magalhães Marques (CAA)</cp:lastModifiedBy>
  <cp:revision>3</cp:revision>
  <dcterms:created xsi:type="dcterms:W3CDTF">2020-12-02T14:54:33Z</dcterms:created>
  <dcterms:modified xsi:type="dcterms:W3CDTF">2021-12-16T17:1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2693C99982044C851C483C7665CB6F</vt:lpwstr>
  </property>
  <property fmtid="{D5CDD505-2E9C-101B-9397-08002B2CF9AE}" pid="3" name="Order">
    <vt:r8>480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</Properties>
</file>